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8"/>
  </p:notesMasterIdLst>
  <p:sldIdLst>
    <p:sldId id="256" r:id="rId5"/>
    <p:sldId id="271" r:id="rId6"/>
    <p:sldId id="257" r:id="rId7"/>
    <p:sldId id="264" r:id="rId8"/>
    <p:sldId id="268" r:id="rId9"/>
    <p:sldId id="265" r:id="rId10"/>
    <p:sldId id="266" r:id="rId11"/>
    <p:sldId id="272" r:id="rId12"/>
    <p:sldId id="274" r:id="rId13"/>
    <p:sldId id="275" r:id="rId14"/>
    <p:sldId id="270" r:id="rId15"/>
    <p:sldId id="267" r:id="rId16"/>
    <p:sldId id="269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A1C89E-12AF-46E1-8107-170560D55F29}" v="1" dt="2022-04-28T03:59:52.2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2780" autoAdjust="0"/>
  </p:normalViewPr>
  <p:slideViewPr>
    <p:cSldViewPr snapToGrid="0">
      <p:cViewPr varScale="1">
        <p:scale>
          <a:sx n="46" d="100"/>
          <a:sy n="46" d="100"/>
        </p:scale>
        <p:origin x="1554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hari Mercer" userId="acf837aa-a1d1-4317-9e51-ad99a85abb7b" providerId="ADAL" clId="{3EE6C60A-9938-472A-9B6C-6CA86729ECCA}"/>
    <pc:docChg chg="undo redo custSel addSld modSld sldOrd modMainMaster replTag">
      <pc:chgData name="Jahari Mercer" userId="acf837aa-a1d1-4317-9e51-ad99a85abb7b" providerId="ADAL" clId="{3EE6C60A-9938-472A-9B6C-6CA86729ECCA}" dt="2022-04-26T20:41:20.859" v="6519"/>
      <pc:docMkLst>
        <pc:docMk/>
      </pc:docMkLst>
      <pc:sldChg chg="addSp delSp modSp mod">
        <pc:chgData name="Jahari Mercer" userId="acf837aa-a1d1-4317-9e51-ad99a85abb7b" providerId="ADAL" clId="{3EE6C60A-9938-472A-9B6C-6CA86729ECCA}" dt="2022-04-25T04:59:35.211" v="1597" actId="1076"/>
        <pc:sldMkLst>
          <pc:docMk/>
          <pc:sldMk cId="1603032356" sldId="257"/>
        </pc:sldMkLst>
        <pc:spChg chg="mod">
          <ac:chgData name="Jahari Mercer" userId="acf837aa-a1d1-4317-9e51-ad99a85abb7b" providerId="ADAL" clId="{3EE6C60A-9938-472A-9B6C-6CA86729ECCA}" dt="2022-04-25T04:52:21.461" v="1526" actId="948"/>
          <ac:spMkLst>
            <pc:docMk/>
            <pc:sldMk cId="1603032356" sldId="257"/>
            <ac:spMk id="2" creationId="{794E4869-2558-A121-96F7-B8A3D01F3805}"/>
          </ac:spMkLst>
        </pc:spChg>
        <pc:spChg chg="mod">
          <ac:chgData name="Jahari Mercer" userId="acf837aa-a1d1-4317-9e51-ad99a85abb7b" providerId="ADAL" clId="{3EE6C60A-9938-472A-9B6C-6CA86729ECCA}" dt="2022-04-25T04:59:28.811" v="1596" actId="14100"/>
          <ac:spMkLst>
            <pc:docMk/>
            <pc:sldMk cId="1603032356" sldId="257"/>
            <ac:spMk id="3" creationId="{746138E6-2A0E-2FC3-B970-4CBD29FDD2E3}"/>
          </ac:spMkLst>
        </pc:spChg>
        <pc:spChg chg="add del mod modVis">
          <ac:chgData name="Jahari Mercer" userId="acf837aa-a1d1-4317-9e51-ad99a85abb7b" providerId="ADAL" clId="{3EE6C60A-9938-472A-9B6C-6CA86729ECCA}" dt="2022-04-25T04:52:18.770" v="1508"/>
          <ac:spMkLst>
            <pc:docMk/>
            <pc:sldMk cId="1603032356" sldId="257"/>
            <ac:spMk id="4" creationId="{DEC6ED46-9560-4507-A181-DBB6FAF86FDF}"/>
          </ac:spMkLst>
        </pc:spChg>
        <pc:spChg chg="add del mod modVis">
          <ac:chgData name="Jahari Mercer" userId="acf837aa-a1d1-4317-9e51-ad99a85abb7b" providerId="ADAL" clId="{3EE6C60A-9938-472A-9B6C-6CA86729ECCA}" dt="2022-04-25T04:52:21.500" v="1565"/>
          <ac:spMkLst>
            <pc:docMk/>
            <pc:sldMk cId="1603032356" sldId="257"/>
            <ac:spMk id="6" creationId="{19262720-9FB8-4215-97CE-8A810484E3B5}"/>
          </ac:spMkLst>
        </pc:spChg>
        <pc:graphicFrameChg chg="add mod ord modVis replST">
          <ac:chgData name="Jahari Mercer" userId="acf837aa-a1d1-4317-9e51-ad99a85abb7b" providerId="ADAL" clId="{3EE6C60A-9938-472A-9B6C-6CA86729ECCA}" dt="2022-04-25T04:52:21.500" v="1567"/>
          <ac:graphicFrameMkLst>
            <pc:docMk/>
            <pc:sldMk cId="1603032356" sldId="257"/>
            <ac:graphicFrameMk id="5" creationId="{DCC65C42-F90A-49C5-9B14-7415E4D41709}"/>
          </ac:graphicFrameMkLst>
        </pc:graphicFrameChg>
        <pc:picChg chg="add mod">
          <ac:chgData name="Jahari Mercer" userId="acf837aa-a1d1-4317-9e51-ad99a85abb7b" providerId="ADAL" clId="{3EE6C60A-9938-472A-9B6C-6CA86729ECCA}" dt="2022-04-25T04:59:35.211" v="1597" actId="1076"/>
          <ac:picMkLst>
            <pc:docMk/>
            <pc:sldMk cId="1603032356" sldId="257"/>
            <ac:picMk id="7" creationId="{06444C21-553D-4B1E-BE46-A9EC301B982C}"/>
          </ac:picMkLst>
        </pc:picChg>
      </pc:sldChg>
      <pc:sldChg chg="addSp delSp modSp mod">
        <pc:chgData name="Jahari Mercer" userId="acf837aa-a1d1-4317-9e51-ad99a85abb7b" providerId="ADAL" clId="{3EE6C60A-9938-472A-9B6C-6CA86729ECCA}" dt="2022-04-26T20:24:18.402" v="6264" actId="20577"/>
        <pc:sldMkLst>
          <pc:docMk/>
          <pc:sldMk cId="3753568668" sldId="264"/>
        </pc:sldMkLst>
        <pc:spChg chg="mod">
          <ac:chgData name="Jahari Mercer" userId="acf837aa-a1d1-4317-9e51-ad99a85abb7b" providerId="ADAL" clId="{3EE6C60A-9938-472A-9B6C-6CA86729ECCA}" dt="2022-04-23T19:36:02.348" v="589" actId="948"/>
          <ac:spMkLst>
            <pc:docMk/>
            <pc:sldMk cId="3753568668" sldId="264"/>
            <ac:spMk id="2" creationId="{794E4869-2558-A121-96F7-B8A3D01F3805}"/>
          </ac:spMkLst>
        </pc:spChg>
        <pc:spChg chg="del">
          <ac:chgData name="Jahari Mercer" userId="acf837aa-a1d1-4317-9e51-ad99a85abb7b" providerId="ADAL" clId="{3EE6C60A-9938-472A-9B6C-6CA86729ECCA}" dt="2022-04-23T19:08:12.783" v="264" actId="1032"/>
          <ac:spMkLst>
            <pc:docMk/>
            <pc:sldMk cId="3753568668" sldId="264"/>
            <ac:spMk id="3" creationId="{746138E6-2A0E-2FC3-B970-4CBD29FDD2E3}"/>
          </ac:spMkLst>
        </pc:spChg>
        <pc:spChg chg="add del mod modVis">
          <ac:chgData name="Jahari Mercer" userId="acf837aa-a1d1-4317-9e51-ad99a85abb7b" providerId="ADAL" clId="{3EE6C60A-9938-472A-9B6C-6CA86729ECCA}" dt="2022-04-23T18:43:27.823" v="130"/>
          <ac:spMkLst>
            <pc:docMk/>
            <pc:sldMk cId="3753568668" sldId="264"/>
            <ac:spMk id="4" creationId="{1DCFF516-7BB3-4633-A662-E0C1436C7BD8}"/>
          </ac:spMkLst>
        </pc:spChg>
        <pc:spChg chg="add del mod modVis">
          <ac:chgData name="Jahari Mercer" userId="acf837aa-a1d1-4317-9e51-ad99a85abb7b" providerId="ADAL" clId="{3EE6C60A-9938-472A-9B6C-6CA86729ECCA}" dt="2022-04-23T18:56:29.939" v="261"/>
          <ac:spMkLst>
            <pc:docMk/>
            <pc:sldMk cId="3753568668" sldId="264"/>
            <ac:spMk id="6" creationId="{1FD8F63B-0569-4FA1-88E2-BF6C4E76081F}"/>
          </ac:spMkLst>
        </pc:spChg>
        <pc:spChg chg="add del mod">
          <ac:chgData name="Jahari Mercer" userId="acf837aa-a1d1-4317-9e51-ad99a85abb7b" providerId="ADAL" clId="{3EE6C60A-9938-472A-9B6C-6CA86729ECCA}" dt="2022-04-23T19:10:24.298" v="273" actId="1032"/>
          <ac:spMkLst>
            <pc:docMk/>
            <pc:sldMk cId="3753568668" sldId="264"/>
            <ac:spMk id="11" creationId="{23DDC42E-1167-4E51-8BE8-3C5187041202}"/>
          </ac:spMkLst>
        </pc:spChg>
        <pc:spChg chg="add del mod modVis">
          <ac:chgData name="Jahari Mercer" userId="acf837aa-a1d1-4317-9e51-ad99a85abb7b" providerId="ADAL" clId="{3EE6C60A-9938-472A-9B6C-6CA86729ECCA}" dt="2022-04-23T19:13:08.419" v="416"/>
          <ac:spMkLst>
            <pc:docMk/>
            <pc:sldMk cId="3753568668" sldId="264"/>
            <ac:spMk id="15" creationId="{3D11B171-DC74-424D-BAC9-D63F11374728}"/>
          </ac:spMkLst>
        </pc:spChg>
        <pc:spChg chg="add del mod modVis">
          <ac:chgData name="Jahari Mercer" userId="acf837aa-a1d1-4317-9e51-ad99a85abb7b" providerId="ADAL" clId="{3EE6C60A-9938-472A-9B6C-6CA86729ECCA}" dt="2022-04-23T19:13:10.713" v="459"/>
          <ac:spMkLst>
            <pc:docMk/>
            <pc:sldMk cId="3753568668" sldId="264"/>
            <ac:spMk id="17" creationId="{2A5F2E67-13B8-487C-B0AF-9FB8DB5FCA57}"/>
          </ac:spMkLst>
        </pc:spChg>
        <pc:spChg chg="add del mod modVis">
          <ac:chgData name="Jahari Mercer" userId="acf837aa-a1d1-4317-9e51-ad99a85abb7b" providerId="ADAL" clId="{3EE6C60A-9938-472A-9B6C-6CA86729ECCA}" dt="2022-04-23T19:13:14.660" v="502"/>
          <ac:spMkLst>
            <pc:docMk/>
            <pc:sldMk cId="3753568668" sldId="264"/>
            <ac:spMk id="18" creationId="{E260EAFB-225B-443C-9DFF-C8D945AF98E8}"/>
          </ac:spMkLst>
        </pc:spChg>
        <pc:spChg chg="add del mod modVis">
          <ac:chgData name="Jahari Mercer" userId="acf837aa-a1d1-4317-9e51-ad99a85abb7b" providerId="ADAL" clId="{3EE6C60A-9938-472A-9B6C-6CA86729ECCA}" dt="2022-04-23T19:13:30.109" v="546"/>
          <ac:spMkLst>
            <pc:docMk/>
            <pc:sldMk cId="3753568668" sldId="264"/>
            <ac:spMk id="19" creationId="{6254BDB2-74B5-4825-88B6-9A50E826E0E5}"/>
          </ac:spMkLst>
        </pc:spChg>
        <pc:spChg chg="add del mod modVis">
          <ac:chgData name="Jahari Mercer" userId="acf837aa-a1d1-4317-9e51-ad99a85abb7b" providerId="ADAL" clId="{3EE6C60A-9938-472A-9B6C-6CA86729ECCA}" dt="2022-04-23T19:36:02.402" v="628"/>
          <ac:spMkLst>
            <pc:docMk/>
            <pc:sldMk cId="3753568668" sldId="264"/>
            <ac:spMk id="20" creationId="{3C0FADFC-1F38-433E-B51C-AAEF38AD93ED}"/>
          </ac:spMkLst>
        </pc:spChg>
        <pc:graphicFrameChg chg="add mod ord modVis replST">
          <ac:chgData name="Jahari Mercer" userId="acf837aa-a1d1-4317-9e51-ad99a85abb7b" providerId="ADAL" clId="{3EE6C60A-9938-472A-9B6C-6CA86729ECCA}" dt="2022-04-23T19:36:02.417" v="630"/>
          <ac:graphicFrameMkLst>
            <pc:docMk/>
            <pc:sldMk cId="3753568668" sldId="264"/>
            <ac:graphicFrameMk id="5" creationId="{F69E1719-85BA-434A-BB33-554D8E5FE9F5}"/>
          </ac:graphicFrameMkLst>
        </pc:graphicFrameChg>
        <pc:graphicFrameChg chg="add del mod modGraphic">
          <ac:chgData name="Jahari Mercer" userId="acf837aa-a1d1-4317-9e51-ad99a85abb7b" providerId="ADAL" clId="{3EE6C60A-9938-472A-9B6C-6CA86729ECCA}" dt="2022-04-23T19:09:26.510" v="272" actId="478"/>
          <ac:graphicFrameMkLst>
            <pc:docMk/>
            <pc:sldMk cId="3753568668" sldId="264"/>
            <ac:graphicFrameMk id="7" creationId="{D3B68A7A-F9BE-4389-9074-A80943F4192C}"/>
          </ac:graphicFrameMkLst>
        </pc:graphicFrameChg>
        <pc:graphicFrameChg chg="add mod modGraphic">
          <ac:chgData name="Jahari Mercer" userId="acf837aa-a1d1-4317-9e51-ad99a85abb7b" providerId="ADAL" clId="{3EE6C60A-9938-472A-9B6C-6CA86729ECCA}" dt="2022-04-26T20:24:18.402" v="6264" actId="20577"/>
          <ac:graphicFrameMkLst>
            <pc:docMk/>
            <pc:sldMk cId="3753568668" sldId="264"/>
            <ac:graphicFrameMk id="13" creationId="{2C9E321B-9C6C-4BD5-9EAA-55CCBEEB57A7}"/>
          </ac:graphicFrameMkLst>
        </pc:graphicFrameChg>
      </pc:sldChg>
      <pc:sldChg chg="addSp delSp modSp mod modNotesTx">
        <pc:chgData name="Jahari Mercer" userId="acf837aa-a1d1-4317-9e51-ad99a85abb7b" providerId="ADAL" clId="{3EE6C60A-9938-472A-9B6C-6CA86729ECCA}" dt="2022-04-26T05:12:53.312" v="2304"/>
        <pc:sldMkLst>
          <pc:docMk/>
          <pc:sldMk cId="1108011013" sldId="265"/>
        </pc:sldMkLst>
        <pc:spChg chg="mod">
          <ac:chgData name="Jahari Mercer" userId="acf837aa-a1d1-4317-9e51-ad99a85abb7b" providerId="ADAL" clId="{3EE6C60A-9938-472A-9B6C-6CA86729ECCA}" dt="2022-04-23T18:54:30.942" v="157" actId="948"/>
          <ac:spMkLst>
            <pc:docMk/>
            <pc:sldMk cId="1108011013" sldId="265"/>
            <ac:spMk id="2" creationId="{794E4869-2558-A121-96F7-B8A3D01F3805}"/>
          </ac:spMkLst>
        </pc:spChg>
        <pc:spChg chg="del">
          <ac:chgData name="Jahari Mercer" userId="acf837aa-a1d1-4317-9e51-ad99a85abb7b" providerId="ADAL" clId="{3EE6C60A-9938-472A-9B6C-6CA86729ECCA}" dt="2022-04-23T18:53:38.795" v="147" actId="478"/>
          <ac:spMkLst>
            <pc:docMk/>
            <pc:sldMk cId="1108011013" sldId="265"/>
            <ac:spMk id="3" creationId="{746138E6-2A0E-2FC3-B970-4CBD29FDD2E3}"/>
          </ac:spMkLst>
        </pc:spChg>
        <pc:spChg chg="add del mod modVis">
          <ac:chgData name="Jahari Mercer" userId="acf837aa-a1d1-4317-9e51-ad99a85abb7b" providerId="ADAL" clId="{3EE6C60A-9938-472A-9B6C-6CA86729ECCA}" dt="2022-04-23T18:54:30.980" v="196"/>
          <ac:spMkLst>
            <pc:docMk/>
            <pc:sldMk cId="1108011013" sldId="265"/>
            <ac:spMk id="5" creationId="{AB51AE15-04F7-4887-AC39-72C8CBA4EBF7}"/>
          </ac:spMkLst>
        </pc:spChg>
        <pc:graphicFrameChg chg="add mod modGraphic">
          <ac:chgData name="Jahari Mercer" userId="acf837aa-a1d1-4317-9e51-ad99a85abb7b" providerId="ADAL" clId="{3EE6C60A-9938-472A-9B6C-6CA86729ECCA}" dt="2022-04-23T18:55:18.915" v="220" actId="404"/>
          <ac:graphicFrameMkLst>
            <pc:docMk/>
            <pc:sldMk cId="1108011013" sldId="265"/>
            <ac:graphicFrameMk id="4" creationId="{65B10AC2-B8B4-4B55-9DCE-4714588FF002}"/>
          </ac:graphicFrameMkLst>
        </pc:graphicFrameChg>
        <pc:graphicFrameChg chg="add mod ord modVis replST">
          <ac:chgData name="Jahari Mercer" userId="acf837aa-a1d1-4317-9e51-ad99a85abb7b" providerId="ADAL" clId="{3EE6C60A-9938-472A-9B6C-6CA86729ECCA}" dt="2022-04-23T18:54:31.011" v="212"/>
          <ac:graphicFrameMkLst>
            <pc:docMk/>
            <pc:sldMk cId="1108011013" sldId="265"/>
            <ac:graphicFrameMk id="6" creationId="{A344DEFB-2AC5-4DDE-92FD-18686A53A05C}"/>
          </ac:graphicFrameMkLst>
        </pc:graphicFrameChg>
      </pc:sldChg>
      <pc:sldChg chg="addSp delSp modSp mod modNotesTx">
        <pc:chgData name="Jahari Mercer" userId="acf837aa-a1d1-4317-9e51-ad99a85abb7b" providerId="ADAL" clId="{3EE6C60A-9938-472A-9B6C-6CA86729ECCA}" dt="2022-04-26T05:36:08.572" v="3179" actId="1076"/>
        <pc:sldMkLst>
          <pc:docMk/>
          <pc:sldMk cId="2630053335" sldId="266"/>
        </pc:sldMkLst>
        <pc:spChg chg="mod">
          <ac:chgData name="Jahari Mercer" userId="acf837aa-a1d1-4317-9e51-ad99a85abb7b" providerId="ADAL" clId="{3EE6C60A-9938-472A-9B6C-6CA86729ECCA}" dt="2022-04-25T18:38:42.404" v="1622" actId="948"/>
          <ac:spMkLst>
            <pc:docMk/>
            <pc:sldMk cId="2630053335" sldId="266"/>
            <ac:spMk id="2" creationId="{794E4869-2558-A121-96F7-B8A3D01F3805}"/>
          </ac:spMkLst>
        </pc:spChg>
        <pc:spChg chg="del mod">
          <ac:chgData name="Jahari Mercer" userId="acf837aa-a1d1-4317-9e51-ad99a85abb7b" providerId="ADAL" clId="{3EE6C60A-9938-472A-9B6C-6CA86729ECCA}" dt="2022-04-26T05:34:15.743" v="3165" actId="478"/>
          <ac:spMkLst>
            <pc:docMk/>
            <pc:sldMk cId="2630053335" sldId="266"/>
            <ac:spMk id="3" creationId="{746138E6-2A0E-2FC3-B970-4CBD29FDD2E3}"/>
          </ac:spMkLst>
        </pc:spChg>
        <pc:graphicFrameChg chg="add mod ord modVis replST">
          <ac:chgData name="Jahari Mercer" userId="acf837aa-a1d1-4317-9e51-ad99a85abb7b" providerId="ADAL" clId="{3EE6C60A-9938-472A-9B6C-6CA86729ECCA}" dt="2022-04-25T18:38:42.413" v="1624"/>
          <ac:graphicFrameMkLst>
            <pc:docMk/>
            <pc:sldMk cId="2630053335" sldId="266"/>
            <ac:graphicFrameMk id="4" creationId="{C8771251-C54A-4644-AFFF-21250FAE45BC}"/>
          </ac:graphicFrameMkLst>
        </pc:graphicFrameChg>
        <pc:picChg chg="add mod">
          <ac:chgData name="Jahari Mercer" userId="acf837aa-a1d1-4317-9e51-ad99a85abb7b" providerId="ADAL" clId="{3EE6C60A-9938-472A-9B6C-6CA86729ECCA}" dt="2022-04-26T05:36:01.713" v="3178" actId="1076"/>
          <ac:picMkLst>
            <pc:docMk/>
            <pc:sldMk cId="2630053335" sldId="266"/>
            <ac:picMk id="5" creationId="{7515CF64-F15A-42EC-BA7A-9BCB059DBD94}"/>
          </ac:picMkLst>
        </pc:picChg>
        <pc:picChg chg="add mod">
          <ac:chgData name="Jahari Mercer" userId="acf837aa-a1d1-4317-9e51-ad99a85abb7b" providerId="ADAL" clId="{3EE6C60A-9938-472A-9B6C-6CA86729ECCA}" dt="2022-04-26T05:36:08.572" v="3179" actId="1076"/>
          <ac:picMkLst>
            <pc:docMk/>
            <pc:sldMk cId="2630053335" sldId="266"/>
            <ac:picMk id="6" creationId="{2287EA2B-67F3-475C-8E6D-88518C921D4A}"/>
          </ac:picMkLst>
        </pc:picChg>
      </pc:sldChg>
      <pc:sldChg chg="addSp modSp mod">
        <pc:chgData name="Jahari Mercer" userId="acf837aa-a1d1-4317-9e51-ad99a85abb7b" providerId="ADAL" clId="{3EE6C60A-9938-472A-9B6C-6CA86729ECCA}" dt="2022-04-26T07:16:17.491" v="3833"/>
        <pc:sldMkLst>
          <pc:docMk/>
          <pc:sldMk cId="4016473112" sldId="267"/>
        </pc:sldMkLst>
        <pc:spChg chg="mod">
          <ac:chgData name="Jahari Mercer" userId="acf837aa-a1d1-4317-9e51-ad99a85abb7b" providerId="ADAL" clId="{3EE6C60A-9938-472A-9B6C-6CA86729ECCA}" dt="2022-04-26T07:16:17.485" v="3831" actId="948"/>
          <ac:spMkLst>
            <pc:docMk/>
            <pc:sldMk cId="4016473112" sldId="267"/>
            <ac:spMk id="2" creationId="{794E4869-2558-A121-96F7-B8A3D01F3805}"/>
          </ac:spMkLst>
        </pc:spChg>
        <pc:spChg chg="mod">
          <ac:chgData name="Jahari Mercer" userId="acf837aa-a1d1-4317-9e51-ad99a85abb7b" providerId="ADAL" clId="{3EE6C60A-9938-472A-9B6C-6CA86729ECCA}" dt="2022-04-26T07:15:44.771" v="3825" actId="14100"/>
          <ac:spMkLst>
            <pc:docMk/>
            <pc:sldMk cId="4016473112" sldId="267"/>
            <ac:spMk id="3" creationId="{746138E6-2A0E-2FC3-B970-4CBD29FDD2E3}"/>
          </ac:spMkLst>
        </pc:spChg>
        <pc:graphicFrameChg chg="add mod ord modVis replST">
          <ac:chgData name="Jahari Mercer" userId="acf837aa-a1d1-4317-9e51-ad99a85abb7b" providerId="ADAL" clId="{3EE6C60A-9938-472A-9B6C-6CA86729ECCA}" dt="2022-04-26T07:16:17.491" v="3833"/>
          <ac:graphicFrameMkLst>
            <pc:docMk/>
            <pc:sldMk cId="4016473112" sldId="267"/>
            <ac:graphicFrameMk id="4" creationId="{6F82DCDB-8086-49AC-9DB2-88AD5128D903}"/>
          </ac:graphicFrameMkLst>
        </pc:graphicFrameChg>
        <pc:picChg chg="add mod">
          <ac:chgData name="Jahari Mercer" userId="acf837aa-a1d1-4317-9e51-ad99a85abb7b" providerId="ADAL" clId="{3EE6C60A-9938-472A-9B6C-6CA86729ECCA}" dt="2022-04-26T07:14:49.170" v="3816" actId="1076"/>
          <ac:picMkLst>
            <pc:docMk/>
            <pc:sldMk cId="4016473112" sldId="267"/>
            <ac:picMk id="5" creationId="{C7767370-BA3B-4C94-87F6-1BD45DA06891}"/>
          </ac:picMkLst>
        </pc:picChg>
      </pc:sldChg>
      <pc:sldChg chg="addSp delSp modSp mod ord modNotesTx">
        <pc:chgData name="Jahari Mercer" userId="acf837aa-a1d1-4317-9e51-ad99a85abb7b" providerId="ADAL" clId="{3EE6C60A-9938-472A-9B6C-6CA86729ECCA}" dt="2022-04-26T20:26:45.744" v="6296" actId="20577"/>
        <pc:sldMkLst>
          <pc:docMk/>
          <pc:sldMk cId="4150646416" sldId="268"/>
        </pc:sldMkLst>
        <pc:spChg chg="mod">
          <ac:chgData name="Jahari Mercer" userId="acf837aa-a1d1-4317-9e51-ad99a85abb7b" providerId="ADAL" clId="{3EE6C60A-9938-472A-9B6C-6CA86729ECCA}" dt="2022-04-23T20:30:50.841" v="1184" actId="948"/>
          <ac:spMkLst>
            <pc:docMk/>
            <pc:sldMk cId="4150646416" sldId="268"/>
            <ac:spMk id="2" creationId="{794E4869-2558-A121-96F7-B8A3D01F3805}"/>
          </ac:spMkLst>
        </pc:spChg>
        <pc:spChg chg="del">
          <ac:chgData name="Jahari Mercer" userId="acf837aa-a1d1-4317-9e51-ad99a85abb7b" providerId="ADAL" clId="{3EE6C60A-9938-472A-9B6C-6CA86729ECCA}" dt="2022-04-23T19:48:02.652" v="631" actId="1032"/>
          <ac:spMkLst>
            <pc:docMk/>
            <pc:sldMk cId="4150646416" sldId="268"/>
            <ac:spMk id="3" creationId="{746138E6-2A0E-2FC3-B970-4CBD29FDD2E3}"/>
          </ac:spMkLst>
        </pc:spChg>
        <pc:spChg chg="add del mod modVis">
          <ac:chgData name="Jahari Mercer" userId="acf837aa-a1d1-4317-9e51-ad99a85abb7b" providerId="ADAL" clId="{3EE6C60A-9938-472A-9B6C-6CA86729ECCA}" dt="2022-04-23T20:30:49.600" v="1136"/>
          <ac:spMkLst>
            <pc:docMk/>
            <pc:sldMk cId="4150646416" sldId="268"/>
            <ac:spMk id="6" creationId="{4C8A86C6-103C-491D-9D06-1FE07B1000F3}"/>
          </ac:spMkLst>
        </pc:spChg>
        <pc:spChg chg="add del mod modVis">
          <ac:chgData name="Jahari Mercer" userId="acf837aa-a1d1-4317-9e51-ad99a85abb7b" providerId="ADAL" clId="{3EE6C60A-9938-472A-9B6C-6CA86729ECCA}" dt="2022-04-23T20:30:50.186" v="1179"/>
          <ac:spMkLst>
            <pc:docMk/>
            <pc:sldMk cId="4150646416" sldId="268"/>
            <ac:spMk id="7" creationId="{F70161F5-C40D-45D0-A411-CD9551D9932E}"/>
          </ac:spMkLst>
        </pc:spChg>
        <pc:graphicFrameChg chg="add mod ord modVis replST">
          <ac:chgData name="Jahari Mercer" userId="acf837aa-a1d1-4317-9e51-ad99a85abb7b" providerId="ADAL" clId="{3EE6C60A-9938-472A-9B6C-6CA86729ECCA}" dt="2022-04-23T20:30:50.841" v="1186"/>
          <ac:graphicFrameMkLst>
            <pc:docMk/>
            <pc:sldMk cId="4150646416" sldId="268"/>
            <ac:graphicFrameMk id="4" creationId="{B83B7CF2-1B67-444B-A7D4-368296A99FA2}"/>
          </ac:graphicFrameMkLst>
        </pc:graphicFrameChg>
        <pc:graphicFrameChg chg="add mod modGraphic">
          <ac:chgData name="Jahari Mercer" userId="acf837aa-a1d1-4317-9e51-ad99a85abb7b" providerId="ADAL" clId="{3EE6C60A-9938-472A-9B6C-6CA86729ECCA}" dt="2022-04-26T20:26:45.744" v="6296" actId="20577"/>
          <ac:graphicFrameMkLst>
            <pc:docMk/>
            <pc:sldMk cId="4150646416" sldId="268"/>
            <ac:graphicFrameMk id="5" creationId="{52A67607-4B1A-4CDD-AB94-92529996FDA1}"/>
          </ac:graphicFrameMkLst>
        </pc:graphicFrameChg>
      </pc:sldChg>
      <pc:sldChg chg="addSp modSp mod">
        <pc:chgData name="Jahari Mercer" userId="acf837aa-a1d1-4317-9e51-ad99a85abb7b" providerId="ADAL" clId="{3EE6C60A-9938-472A-9B6C-6CA86729ECCA}" dt="2022-04-26T07:17:38.640" v="3871"/>
        <pc:sldMkLst>
          <pc:docMk/>
          <pc:sldMk cId="523473031" sldId="269"/>
        </pc:sldMkLst>
        <pc:spChg chg="mod">
          <ac:chgData name="Jahari Mercer" userId="acf837aa-a1d1-4317-9e51-ad99a85abb7b" providerId="ADAL" clId="{3EE6C60A-9938-472A-9B6C-6CA86729ECCA}" dt="2022-04-26T07:17:38.624" v="3869" actId="948"/>
          <ac:spMkLst>
            <pc:docMk/>
            <pc:sldMk cId="523473031" sldId="269"/>
            <ac:spMk id="2" creationId="{794E4869-2558-A121-96F7-B8A3D01F3805}"/>
          </ac:spMkLst>
        </pc:spChg>
        <pc:spChg chg="mod">
          <ac:chgData name="Jahari Mercer" userId="acf837aa-a1d1-4317-9e51-ad99a85abb7b" providerId="ADAL" clId="{3EE6C60A-9938-472A-9B6C-6CA86729ECCA}" dt="2022-04-26T07:17:29.835" v="3867" actId="27636"/>
          <ac:spMkLst>
            <pc:docMk/>
            <pc:sldMk cId="523473031" sldId="269"/>
            <ac:spMk id="3" creationId="{746138E6-2A0E-2FC3-B970-4CBD29FDD2E3}"/>
          </ac:spMkLst>
        </pc:spChg>
        <pc:graphicFrameChg chg="add mod ord modVis replST">
          <ac:chgData name="Jahari Mercer" userId="acf837aa-a1d1-4317-9e51-ad99a85abb7b" providerId="ADAL" clId="{3EE6C60A-9938-472A-9B6C-6CA86729ECCA}" dt="2022-04-26T07:17:38.640" v="3871"/>
          <ac:graphicFrameMkLst>
            <pc:docMk/>
            <pc:sldMk cId="523473031" sldId="269"/>
            <ac:graphicFrameMk id="4" creationId="{1F3BAACB-8CCB-4406-BFCD-476ED18F5FF2}"/>
          </ac:graphicFrameMkLst>
        </pc:graphicFrameChg>
      </pc:sldChg>
      <pc:sldChg chg="addSp delSp modSp mod ord modNotesTx">
        <pc:chgData name="Jahari Mercer" userId="acf837aa-a1d1-4317-9e51-ad99a85abb7b" providerId="ADAL" clId="{3EE6C60A-9938-472A-9B6C-6CA86729ECCA}" dt="2022-04-26T08:33:00.626" v="6256" actId="14100"/>
        <pc:sldMkLst>
          <pc:docMk/>
          <pc:sldMk cId="4109852053" sldId="270"/>
        </pc:sldMkLst>
        <pc:spChg chg="mod">
          <ac:chgData name="Jahari Mercer" userId="acf837aa-a1d1-4317-9e51-ad99a85abb7b" providerId="ADAL" clId="{3EE6C60A-9938-472A-9B6C-6CA86729ECCA}" dt="2022-04-26T08:30:44.156" v="6191" actId="948"/>
          <ac:spMkLst>
            <pc:docMk/>
            <pc:sldMk cId="4109852053" sldId="270"/>
            <ac:spMk id="2" creationId="{794E4869-2558-A121-96F7-B8A3D01F3805}"/>
          </ac:spMkLst>
        </pc:spChg>
        <pc:spChg chg="del mod">
          <ac:chgData name="Jahari Mercer" userId="acf837aa-a1d1-4317-9e51-ad99a85abb7b" providerId="ADAL" clId="{3EE6C60A-9938-472A-9B6C-6CA86729ECCA}" dt="2022-04-26T08:29:43.524" v="6135" actId="478"/>
          <ac:spMkLst>
            <pc:docMk/>
            <pc:sldMk cId="4109852053" sldId="270"/>
            <ac:spMk id="3" creationId="{746138E6-2A0E-2FC3-B970-4CBD29FDD2E3}"/>
          </ac:spMkLst>
        </pc:spChg>
        <pc:spChg chg="add del mod modVis">
          <ac:chgData name="Jahari Mercer" userId="acf837aa-a1d1-4317-9e51-ad99a85abb7b" providerId="ADAL" clId="{3EE6C60A-9938-472A-9B6C-6CA86729ECCA}" dt="2022-04-26T06:57:32.369" v="3231"/>
          <ac:spMkLst>
            <pc:docMk/>
            <pc:sldMk cId="4109852053" sldId="270"/>
            <ac:spMk id="4" creationId="{71343941-2D0F-4ABF-8A1F-82DEE0061274}"/>
          </ac:spMkLst>
        </pc:spChg>
        <pc:spChg chg="add del mod modVis">
          <ac:chgData name="Jahari Mercer" userId="acf837aa-a1d1-4317-9e51-ad99a85abb7b" providerId="ADAL" clId="{3EE6C60A-9938-472A-9B6C-6CA86729ECCA}" dt="2022-04-26T06:57:36.181" v="3306"/>
          <ac:spMkLst>
            <pc:docMk/>
            <pc:sldMk cId="4109852053" sldId="270"/>
            <ac:spMk id="6" creationId="{EFBAE3B8-6977-4DBA-8E9C-742A8C085411}"/>
          </ac:spMkLst>
        </pc:spChg>
        <pc:spChg chg="add del mod modVis">
          <ac:chgData name="Jahari Mercer" userId="acf837aa-a1d1-4317-9e51-ad99a85abb7b" providerId="ADAL" clId="{3EE6C60A-9938-472A-9B6C-6CA86729ECCA}" dt="2022-04-26T06:57:38.637" v="3350"/>
          <ac:spMkLst>
            <pc:docMk/>
            <pc:sldMk cId="4109852053" sldId="270"/>
            <ac:spMk id="7" creationId="{9FB7D36E-DA6C-4F11-90F2-E17A6EDCD9BF}"/>
          </ac:spMkLst>
        </pc:spChg>
        <pc:spChg chg="add del mod modVis">
          <ac:chgData name="Jahari Mercer" userId="acf837aa-a1d1-4317-9e51-ad99a85abb7b" providerId="ADAL" clId="{3EE6C60A-9938-472A-9B6C-6CA86729ECCA}" dt="2022-04-26T06:57:39.556" v="3394"/>
          <ac:spMkLst>
            <pc:docMk/>
            <pc:sldMk cId="4109852053" sldId="270"/>
            <ac:spMk id="9" creationId="{64EA7F09-A3D1-4498-A19B-AD8650AA0DC2}"/>
          </ac:spMkLst>
        </pc:spChg>
        <pc:spChg chg="add del mod modVis">
          <ac:chgData name="Jahari Mercer" userId="acf837aa-a1d1-4317-9e51-ad99a85abb7b" providerId="ADAL" clId="{3EE6C60A-9938-472A-9B6C-6CA86729ECCA}" dt="2022-04-26T06:57:43.389" v="3446"/>
          <ac:spMkLst>
            <pc:docMk/>
            <pc:sldMk cId="4109852053" sldId="270"/>
            <ac:spMk id="11" creationId="{7980562D-542E-4794-8889-375F1E1254C1}"/>
          </ac:spMkLst>
        </pc:spChg>
        <pc:spChg chg="add del mod modVis">
          <ac:chgData name="Jahari Mercer" userId="acf837aa-a1d1-4317-9e51-ad99a85abb7b" providerId="ADAL" clId="{3EE6C60A-9938-472A-9B6C-6CA86729ECCA}" dt="2022-04-26T07:12:40.912" v="3665"/>
          <ac:spMkLst>
            <pc:docMk/>
            <pc:sldMk cId="4109852053" sldId="270"/>
            <ac:spMk id="13" creationId="{723A9586-09BB-45DB-8551-B28BCE112A6F}"/>
          </ac:spMkLst>
        </pc:spChg>
        <pc:spChg chg="add del mod modVis">
          <ac:chgData name="Jahari Mercer" userId="acf837aa-a1d1-4317-9e51-ad99a85abb7b" providerId="ADAL" clId="{3EE6C60A-9938-472A-9B6C-6CA86729ECCA}" dt="2022-04-26T07:12:41.884" v="3710"/>
          <ac:spMkLst>
            <pc:docMk/>
            <pc:sldMk cId="4109852053" sldId="270"/>
            <ac:spMk id="15" creationId="{27C707FA-9481-484E-B35D-9C886524EA84}"/>
          </ac:spMkLst>
        </pc:spChg>
        <pc:spChg chg="add del mod modVis">
          <ac:chgData name="Jahari Mercer" userId="acf837aa-a1d1-4317-9e51-ad99a85abb7b" providerId="ADAL" clId="{3EE6C60A-9938-472A-9B6C-6CA86729ECCA}" dt="2022-04-26T07:12:43.969" v="3762"/>
          <ac:spMkLst>
            <pc:docMk/>
            <pc:sldMk cId="4109852053" sldId="270"/>
            <ac:spMk id="17" creationId="{DF93387A-AD58-4EAA-BBE0-1A8999CEB0D2}"/>
          </ac:spMkLst>
        </pc:spChg>
        <pc:spChg chg="add del mod modVis">
          <ac:chgData name="Jahari Mercer" userId="acf837aa-a1d1-4317-9e51-ad99a85abb7b" providerId="ADAL" clId="{3EE6C60A-9938-472A-9B6C-6CA86729ECCA}" dt="2022-04-26T07:12:45.072" v="3807"/>
          <ac:spMkLst>
            <pc:docMk/>
            <pc:sldMk cId="4109852053" sldId="270"/>
            <ac:spMk id="18" creationId="{48D3AF06-8A88-4445-B288-355E1C67BF86}"/>
          </ac:spMkLst>
        </pc:spChg>
        <pc:spChg chg="add del mod modVis">
          <ac:chgData name="Jahari Mercer" userId="acf837aa-a1d1-4317-9e51-ad99a85abb7b" providerId="ADAL" clId="{3EE6C60A-9938-472A-9B6C-6CA86729ECCA}" dt="2022-04-26T08:17:37.970" v="5751"/>
          <ac:spMkLst>
            <pc:docMk/>
            <pc:sldMk cId="4109852053" sldId="270"/>
            <ac:spMk id="19" creationId="{6C474E26-C3F9-48B0-879A-16AFFF13CBB5}"/>
          </ac:spMkLst>
        </pc:spChg>
        <pc:spChg chg="add del mod modVis">
          <ac:chgData name="Jahari Mercer" userId="acf837aa-a1d1-4317-9e51-ad99a85abb7b" providerId="ADAL" clId="{3EE6C60A-9938-472A-9B6C-6CA86729ECCA}" dt="2022-04-26T08:17:39.622" v="5795"/>
          <ac:spMkLst>
            <pc:docMk/>
            <pc:sldMk cId="4109852053" sldId="270"/>
            <ac:spMk id="20" creationId="{49F5C89A-D25C-43B6-ACB5-8C71CC551FA2}"/>
          </ac:spMkLst>
        </pc:spChg>
        <pc:spChg chg="add del mod">
          <ac:chgData name="Jahari Mercer" userId="acf837aa-a1d1-4317-9e51-ad99a85abb7b" providerId="ADAL" clId="{3EE6C60A-9938-472A-9B6C-6CA86729ECCA}" dt="2022-04-26T08:29:45.393" v="6136" actId="478"/>
          <ac:spMkLst>
            <pc:docMk/>
            <pc:sldMk cId="4109852053" sldId="270"/>
            <ac:spMk id="22" creationId="{372282A7-B570-4E2C-8BDA-5B2C49D1D2A5}"/>
          </ac:spMkLst>
        </pc:spChg>
        <pc:spChg chg="add mod">
          <ac:chgData name="Jahari Mercer" userId="acf837aa-a1d1-4317-9e51-ad99a85abb7b" providerId="ADAL" clId="{3EE6C60A-9938-472A-9B6C-6CA86729ECCA}" dt="2022-04-26T08:32:05.821" v="6247" actId="1076"/>
          <ac:spMkLst>
            <pc:docMk/>
            <pc:sldMk cId="4109852053" sldId="270"/>
            <ac:spMk id="25" creationId="{84C4AA4F-E10D-44DF-8E18-AAFE289A1F65}"/>
          </ac:spMkLst>
        </pc:spChg>
        <pc:spChg chg="add del mod modVis">
          <ac:chgData name="Jahari Mercer" userId="acf837aa-a1d1-4317-9e51-ad99a85abb7b" providerId="ADAL" clId="{3EE6C60A-9938-472A-9B6C-6CA86729ECCA}" dt="2022-04-26T08:30:41.584" v="6187"/>
          <ac:spMkLst>
            <pc:docMk/>
            <pc:sldMk cId="4109852053" sldId="270"/>
            <ac:spMk id="26" creationId="{2E8EA162-68F9-4F5A-8A1A-9BBFE36A1879}"/>
          </ac:spMkLst>
        </pc:spChg>
        <pc:spChg chg="add del mod modVis">
          <ac:chgData name="Jahari Mercer" userId="acf837aa-a1d1-4317-9e51-ad99a85abb7b" providerId="ADAL" clId="{3EE6C60A-9938-472A-9B6C-6CA86729ECCA}" dt="2022-04-26T08:30:44.194" v="6230"/>
          <ac:spMkLst>
            <pc:docMk/>
            <pc:sldMk cId="4109852053" sldId="270"/>
            <ac:spMk id="27" creationId="{6FA11546-4546-4A6E-B020-3F7EF5F5AC63}"/>
          </ac:spMkLst>
        </pc:spChg>
        <pc:spChg chg="add mod">
          <ac:chgData name="Jahari Mercer" userId="acf837aa-a1d1-4317-9e51-ad99a85abb7b" providerId="ADAL" clId="{3EE6C60A-9938-472A-9B6C-6CA86729ECCA}" dt="2022-04-26T08:32:31.265" v="6251" actId="14100"/>
          <ac:spMkLst>
            <pc:docMk/>
            <pc:sldMk cId="4109852053" sldId="270"/>
            <ac:spMk id="28" creationId="{809638EA-B3A3-4470-96D7-A4F3957A6A22}"/>
          </ac:spMkLst>
        </pc:spChg>
        <pc:graphicFrameChg chg="add mod ord modVis replST">
          <ac:chgData name="Jahari Mercer" userId="acf837aa-a1d1-4317-9e51-ad99a85abb7b" providerId="ADAL" clId="{3EE6C60A-9938-472A-9B6C-6CA86729ECCA}" dt="2022-04-26T08:30:44.194" v="6232"/>
          <ac:graphicFrameMkLst>
            <pc:docMk/>
            <pc:sldMk cId="4109852053" sldId="270"/>
            <ac:graphicFrameMk id="5" creationId="{50A16812-4606-4E96-BBC6-EE3402E1105C}"/>
          </ac:graphicFrameMkLst>
        </pc:graphicFrameChg>
        <pc:picChg chg="add mod">
          <ac:chgData name="Jahari Mercer" userId="acf837aa-a1d1-4317-9e51-ad99a85abb7b" providerId="ADAL" clId="{3EE6C60A-9938-472A-9B6C-6CA86729ECCA}" dt="2022-04-26T08:33:00.626" v="6256" actId="14100"/>
          <ac:picMkLst>
            <pc:docMk/>
            <pc:sldMk cId="4109852053" sldId="270"/>
            <ac:picMk id="24" creationId="{E24430A2-4D55-4244-9F51-A3B9727BE02B}"/>
          </ac:picMkLst>
        </pc:picChg>
        <pc:picChg chg="add mod">
          <ac:chgData name="Jahari Mercer" userId="acf837aa-a1d1-4317-9e51-ad99a85abb7b" providerId="ADAL" clId="{3EE6C60A-9938-472A-9B6C-6CA86729ECCA}" dt="2022-04-26T08:32:39.578" v="6253" actId="208"/>
          <ac:picMkLst>
            <pc:docMk/>
            <pc:sldMk cId="4109852053" sldId="270"/>
            <ac:picMk id="30" creationId="{9019F028-9DE9-46A1-AB3E-919AD29D85A7}"/>
          </ac:picMkLst>
        </pc:picChg>
      </pc:sldChg>
      <pc:sldChg chg="addSp delSp modSp mod ord">
        <pc:chgData name="Jahari Mercer" userId="acf837aa-a1d1-4317-9e51-ad99a85abb7b" providerId="ADAL" clId="{3EE6C60A-9938-472A-9B6C-6CA86729ECCA}" dt="2022-04-26T20:41:20.859" v="6519"/>
        <pc:sldMkLst>
          <pc:docMk/>
          <pc:sldMk cId="988903583" sldId="271"/>
        </pc:sldMkLst>
        <pc:spChg chg="mod">
          <ac:chgData name="Jahari Mercer" userId="acf837aa-a1d1-4317-9e51-ad99a85abb7b" providerId="ADAL" clId="{3EE6C60A-9938-472A-9B6C-6CA86729ECCA}" dt="2022-04-26T20:41:20.832" v="6517" actId="948"/>
          <ac:spMkLst>
            <pc:docMk/>
            <pc:sldMk cId="988903583" sldId="271"/>
            <ac:spMk id="2" creationId="{794E4869-2558-A121-96F7-B8A3D01F3805}"/>
          </ac:spMkLst>
        </pc:spChg>
        <pc:spChg chg="del mod">
          <ac:chgData name="Jahari Mercer" userId="acf837aa-a1d1-4317-9e51-ad99a85abb7b" providerId="ADAL" clId="{3EE6C60A-9938-472A-9B6C-6CA86729ECCA}" dt="2022-04-26T20:39:01.657" v="6327" actId="1032"/>
          <ac:spMkLst>
            <pc:docMk/>
            <pc:sldMk cId="988903583" sldId="271"/>
            <ac:spMk id="3" creationId="{746138E6-2A0E-2FC3-B970-4CBD29FDD2E3}"/>
          </ac:spMkLst>
        </pc:spChg>
        <pc:spChg chg="add del mod">
          <ac:chgData name="Jahari Mercer" userId="acf837aa-a1d1-4317-9e51-ad99a85abb7b" providerId="ADAL" clId="{3EE6C60A-9938-472A-9B6C-6CA86729ECCA}" dt="2022-04-26T20:39:22.873" v="6329" actId="1032"/>
          <ac:spMkLst>
            <pc:docMk/>
            <pc:sldMk cId="988903583" sldId="271"/>
            <ac:spMk id="7" creationId="{DF5B6DF7-D09E-4B2C-B535-5C2C4106ABE5}"/>
          </ac:spMkLst>
        </pc:spChg>
        <pc:graphicFrameChg chg="add mod ord modVis replST">
          <ac:chgData name="Jahari Mercer" userId="acf837aa-a1d1-4317-9e51-ad99a85abb7b" providerId="ADAL" clId="{3EE6C60A-9938-472A-9B6C-6CA86729ECCA}" dt="2022-04-26T20:41:20.859" v="6519"/>
          <ac:graphicFrameMkLst>
            <pc:docMk/>
            <pc:sldMk cId="988903583" sldId="271"/>
            <ac:graphicFrameMk id="4" creationId="{2C9F2317-8850-468B-91A5-97F353BD03D3}"/>
          </ac:graphicFrameMkLst>
        </pc:graphicFrameChg>
        <pc:graphicFrameChg chg="add del modGraphic">
          <ac:chgData name="Jahari Mercer" userId="acf837aa-a1d1-4317-9e51-ad99a85abb7b" providerId="ADAL" clId="{3EE6C60A-9938-472A-9B6C-6CA86729ECCA}" dt="2022-04-26T20:39:04.645" v="6328" actId="478"/>
          <ac:graphicFrameMkLst>
            <pc:docMk/>
            <pc:sldMk cId="988903583" sldId="271"/>
            <ac:graphicFrameMk id="5" creationId="{34B79DFF-B97A-4E37-9645-0D3095863DD5}"/>
          </ac:graphicFrameMkLst>
        </pc:graphicFrameChg>
        <pc:graphicFrameChg chg="add mod modGraphic">
          <ac:chgData name="Jahari Mercer" userId="acf837aa-a1d1-4317-9e51-ad99a85abb7b" providerId="ADAL" clId="{3EE6C60A-9938-472A-9B6C-6CA86729ECCA}" dt="2022-04-26T20:41:15.338" v="6515" actId="1076"/>
          <ac:graphicFrameMkLst>
            <pc:docMk/>
            <pc:sldMk cId="988903583" sldId="271"/>
            <ac:graphicFrameMk id="9" creationId="{0092E9F2-5FC8-4CDE-86DE-DA8BE662E388}"/>
          </ac:graphicFrameMkLst>
        </pc:graphicFrameChg>
      </pc:sldChg>
      <pc:sldChg chg="addSp delSp modSp add mod">
        <pc:chgData name="Jahari Mercer" userId="acf837aa-a1d1-4317-9e51-ad99a85abb7b" providerId="ADAL" clId="{3EE6C60A-9938-472A-9B6C-6CA86729ECCA}" dt="2022-04-25T04:51:53.796" v="1445"/>
        <pc:sldMkLst>
          <pc:docMk/>
          <pc:sldMk cId="77206988" sldId="272"/>
        </pc:sldMkLst>
        <pc:spChg chg="mod">
          <ac:chgData name="Jahari Mercer" userId="acf837aa-a1d1-4317-9e51-ad99a85abb7b" providerId="ADAL" clId="{3EE6C60A-9938-472A-9B6C-6CA86729ECCA}" dt="2022-04-25T04:51:53.410" v="1390" actId="948"/>
          <ac:spMkLst>
            <pc:docMk/>
            <pc:sldMk cId="77206988" sldId="272"/>
            <ac:spMk id="2" creationId="{794E4869-2558-A121-96F7-B8A3D01F3805}"/>
          </ac:spMkLst>
        </pc:spChg>
        <pc:spChg chg="add del mod modVis">
          <ac:chgData name="Jahari Mercer" userId="acf837aa-a1d1-4317-9e51-ad99a85abb7b" providerId="ADAL" clId="{3EE6C60A-9938-472A-9B6C-6CA86729ECCA}" dt="2022-04-25T04:51:53.531" v="1429"/>
          <ac:spMkLst>
            <pc:docMk/>
            <pc:sldMk cId="77206988" sldId="272"/>
            <ac:spMk id="4" creationId="{1F4B2235-8C67-4C3D-A857-623FAEB24A92}"/>
          </ac:spMkLst>
        </pc:spChg>
        <pc:graphicFrameChg chg="add mod ord modVis replST">
          <ac:chgData name="Jahari Mercer" userId="acf837aa-a1d1-4317-9e51-ad99a85abb7b" providerId="ADAL" clId="{3EE6C60A-9938-472A-9B6C-6CA86729ECCA}" dt="2022-04-25T04:51:53.796" v="1445"/>
          <ac:graphicFrameMkLst>
            <pc:docMk/>
            <pc:sldMk cId="77206988" sldId="272"/>
            <ac:graphicFrameMk id="5" creationId="{CF8F78F7-CCE6-487E-A6FF-4EA106771BBE}"/>
          </ac:graphicFrameMkLst>
        </pc:graphicFrameChg>
      </pc:sldChg>
      <pc:sldChg chg="addSp delSp modSp add mod ord modNotesTx">
        <pc:chgData name="Jahari Mercer" userId="acf837aa-a1d1-4317-9e51-ad99a85abb7b" providerId="ADAL" clId="{3EE6C60A-9938-472A-9B6C-6CA86729ECCA}" dt="2022-04-26T08:33:32.558" v="6263" actId="14100"/>
        <pc:sldMkLst>
          <pc:docMk/>
          <pc:sldMk cId="2209006537" sldId="275"/>
        </pc:sldMkLst>
        <pc:spChg chg="mod">
          <ac:chgData name="Jahari Mercer" userId="acf837aa-a1d1-4317-9e51-ad99a85abb7b" providerId="ADAL" clId="{3EE6C60A-9938-472A-9B6C-6CA86729ECCA}" dt="2022-04-26T07:35:50.872" v="4944" actId="948"/>
          <ac:spMkLst>
            <pc:docMk/>
            <pc:sldMk cId="2209006537" sldId="275"/>
            <ac:spMk id="2" creationId="{794E4869-2558-A121-96F7-B8A3D01F3805}"/>
          </ac:spMkLst>
        </pc:spChg>
        <pc:spChg chg="del mod">
          <ac:chgData name="Jahari Mercer" userId="acf837aa-a1d1-4317-9e51-ad99a85abb7b" providerId="ADAL" clId="{3EE6C60A-9938-472A-9B6C-6CA86729ECCA}" dt="2022-04-26T07:35:31.360" v="4935" actId="478"/>
          <ac:spMkLst>
            <pc:docMk/>
            <pc:sldMk cId="2209006537" sldId="275"/>
            <ac:spMk id="3" creationId="{746138E6-2A0E-2FC3-B970-4CBD29FDD2E3}"/>
          </ac:spMkLst>
        </pc:spChg>
        <pc:spChg chg="add del mod modVis">
          <ac:chgData name="Jahari Mercer" userId="acf837aa-a1d1-4317-9e51-ad99a85abb7b" providerId="ADAL" clId="{3EE6C60A-9938-472A-9B6C-6CA86729ECCA}" dt="2022-04-26T07:17:56.857" v="3919"/>
          <ac:spMkLst>
            <pc:docMk/>
            <pc:sldMk cId="2209006537" sldId="275"/>
            <ac:spMk id="4" creationId="{DB98653F-1428-485E-99CF-7762688D50DC}"/>
          </ac:spMkLst>
        </pc:spChg>
        <pc:spChg chg="add del mod modVis">
          <ac:chgData name="Jahari Mercer" userId="acf837aa-a1d1-4317-9e51-ad99a85abb7b" providerId="ADAL" clId="{3EE6C60A-9938-472A-9B6C-6CA86729ECCA}" dt="2022-04-26T07:17:57.412" v="3962"/>
          <ac:spMkLst>
            <pc:docMk/>
            <pc:sldMk cId="2209006537" sldId="275"/>
            <ac:spMk id="6" creationId="{9CF980B9-554E-413C-AF2C-CF445AE0552A}"/>
          </ac:spMkLst>
        </pc:spChg>
        <pc:spChg chg="add del mod modVis">
          <ac:chgData name="Jahari Mercer" userId="acf837aa-a1d1-4317-9e51-ad99a85abb7b" providerId="ADAL" clId="{3EE6C60A-9938-472A-9B6C-6CA86729ECCA}" dt="2022-04-26T07:17:59.533" v="4009"/>
          <ac:spMkLst>
            <pc:docMk/>
            <pc:sldMk cId="2209006537" sldId="275"/>
            <ac:spMk id="7" creationId="{A6062A6E-AA8A-4649-B290-DDF80BB85EF8}"/>
          </ac:spMkLst>
        </pc:spChg>
        <pc:spChg chg="mod">
          <ac:chgData name="Jahari Mercer" userId="acf837aa-a1d1-4317-9e51-ad99a85abb7b" providerId="ADAL" clId="{3EE6C60A-9938-472A-9B6C-6CA86729ECCA}" dt="2022-04-26T07:12:49.887" v="3811"/>
          <ac:spMkLst>
            <pc:docMk/>
            <pc:sldMk cId="2209006537" sldId="275"/>
            <ac:spMk id="8" creationId="{2B566528-1B12-4246-9431-5C2D7D081168}"/>
          </ac:spMkLst>
        </pc:spChg>
        <pc:spChg chg="add del mod modVis">
          <ac:chgData name="Jahari Mercer" userId="acf837aa-a1d1-4317-9e51-ad99a85abb7b" providerId="ADAL" clId="{3EE6C60A-9938-472A-9B6C-6CA86729ECCA}" dt="2022-04-26T07:18:00.221" v="4052"/>
          <ac:spMkLst>
            <pc:docMk/>
            <pc:sldMk cId="2209006537" sldId="275"/>
            <ac:spMk id="9" creationId="{790BF59E-15EC-499F-975A-DC4C13C66165}"/>
          </ac:spMkLst>
        </pc:spChg>
        <pc:spChg chg="mod">
          <ac:chgData name="Jahari Mercer" userId="acf837aa-a1d1-4317-9e51-ad99a85abb7b" providerId="ADAL" clId="{3EE6C60A-9938-472A-9B6C-6CA86729ECCA}" dt="2022-04-26T07:12:49.887" v="3811"/>
          <ac:spMkLst>
            <pc:docMk/>
            <pc:sldMk cId="2209006537" sldId="275"/>
            <ac:spMk id="10" creationId="{2E80C965-DB6D-4F81-9E9E-B027384D0BD6}"/>
          </ac:spMkLst>
        </pc:spChg>
        <pc:spChg chg="add del mod modVis">
          <ac:chgData name="Jahari Mercer" userId="acf837aa-a1d1-4317-9e51-ad99a85abb7b" providerId="ADAL" clId="{3EE6C60A-9938-472A-9B6C-6CA86729ECCA}" dt="2022-04-26T07:18:00.299" v="4095"/>
          <ac:spMkLst>
            <pc:docMk/>
            <pc:sldMk cId="2209006537" sldId="275"/>
            <ac:spMk id="11" creationId="{35609EEF-31BD-40E2-806E-3A9D6C715BC9}"/>
          </ac:spMkLst>
        </pc:spChg>
        <pc:spChg chg="mod">
          <ac:chgData name="Jahari Mercer" userId="acf837aa-a1d1-4317-9e51-ad99a85abb7b" providerId="ADAL" clId="{3EE6C60A-9938-472A-9B6C-6CA86729ECCA}" dt="2022-04-26T07:12:49.887" v="3811"/>
          <ac:spMkLst>
            <pc:docMk/>
            <pc:sldMk cId="2209006537" sldId="275"/>
            <ac:spMk id="12" creationId="{A580F890-B085-4E95-96AA-55AEBEC5CE6E}"/>
          </ac:spMkLst>
        </pc:spChg>
        <pc:spChg chg="add del mod modVis">
          <ac:chgData name="Jahari Mercer" userId="acf837aa-a1d1-4317-9e51-ad99a85abb7b" providerId="ADAL" clId="{3EE6C60A-9938-472A-9B6C-6CA86729ECCA}" dt="2022-04-26T07:18:01.017" v="4138"/>
          <ac:spMkLst>
            <pc:docMk/>
            <pc:sldMk cId="2209006537" sldId="275"/>
            <ac:spMk id="13" creationId="{0F799CB2-8AC2-421B-B1BB-C89B2949410A}"/>
          </ac:spMkLst>
        </pc:spChg>
        <pc:spChg chg="mod">
          <ac:chgData name="Jahari Mercer" userId="acf837aa-a1d1-4317-9e51-ad99a85abb7b" providerId="ADAL" clId="{3EE6C60A-9938-472A-9B6C-6CA86729ECCA}" dt="2022-04-26T07:12:49.887" v="3811"/>
          <ac:spMkLst>
            <pc:docMk/>
            <pc:sldMk cId="2209006537" sldId="275"/>
            <ac:spMk id="14" creationId="{D3F51FEB-38FB-4F6C-9F7B-2F2AFAB65463}"/>
          </ac:spMkLst>
        </pc:spChg>
        <pc:spChg chg="mod">
          <ac:chgData name="Jahari Mercer" userId="acf837aa-a1d1-4317-9e51-ad99a85abb7b" providerId="ADAL" clId="{3EE6C60A-9938-472A-9B6C-6CA86729ECCA}" dt="2022-04-26T07:12:49.887" v="3811"/>
          <ac:spMkLst>
            <pc:docMk/>
            <pc:sldMk cId="2209006537" sldId="275"/>
            <ac:spMk id="16" creationId="{1E547BA6-BAE0-43BB-A7CA-60F69CE252F0}"/>
          </ac:spMkLst>
        </pc:spChg>
        <pc:spChg chg="add del mod">
          <ac:chgData name="Jahari Mercer" userId="acf837aa-a1d1-4317-9e51-ad99a85abb7b" providerId="ADAL" clId="{3EE6C60A-9938-472A-9B6C-6CA86729ECCA}" dt="2022-04-26T07:35:33.414" v="4936" actId="478"/>
          <ac:spMkLst>
            <pc:docMk/>
            <pc:sldMk cId="2209006537" sldId="275"/>
            <ac:spMk id="17" creationId="{D9C03CDF-F7B9-4D28-9DD4-83445CF64C53}"/>
          </ac:spMkLst>
        </pc:spChg>
        <pc:spChg chg="add del mod modVis">
          <ac:chgData name="Jahari Mercer" userId="acf837aa-a1d1-4317-9e51-ad99a85abb7b" providerId="ADAL" clId="{3EE6C60A-9938-472A-9B6C-6CA86729ECCA}" dt="2022-04-26T07:35:50.925" v="4983"/>
          <ac:spMkLst>
            <pc:docMk/>
            <pc:sldMk cId="2209006537" sldId="275"/>
            <ac:spMk id="20" creationId="{6AEF3466-C52C-4FAC-8931-C8733540720F}"/>
          </ac:spMkLst>
        </pc:spChg>
        <pc:spChg chg="add mod">
          <ac:chgData name="Jahari Mercer" userId="acf837aa-a1d1-4317-9e51-ad99a85abb7b" providerId="ADAL" clId="{3EE6C60A-9938-472A-9B6C-6CA86729ECCA}" dt="2022-04-26T08:33:22.471" v="6260" actId="14100"/>
          <ac:spMkLst>
            <pc:docMk/>
            <pc:sldMk cId="2209006537" sldId="275"/>
            <ac:spMk id="21" creationId="{6D05C153-1B00-465E-B03A-17BB4A317C66}"/>
          </ac:spMkLst>
        </pc:spChg>
        <pc:spChg chg="add mod">
          <ac:chgData name="Jahari Mercer" userId="acf837aa-a1d1-4317-9e51-ad99a85abb7b" providerId="ADAL" clId="{3EE6C60A-9938-472A-9B6C-6CA86729ECCA}" dt="2022-04-26T08:33:32.558" v="6263" actId="14100"/>
          <ac:spMkLst>
            <pc:docMk/>
            <pc:sldMk cId="2209006537" sldId="275"/>
            <ac:spMk id="23" creationId="{02799A30-599D-4387-A89C-9D42B10BDFFE}"/>
          </ac:spMkLst>
        </pc:spChg>
        <pc:grpChg chg="mod">
          <ac:chgData name="Jahari Mercer" userId="acf837aa-a1d1-4317-9e51-ad99a85abb7b" providerId="ADAL" clId="{3EE6C60A-9938-472A-9B6C-6CA86729ECCA}" dt="2022-04-26T07:12:49.887" v="3811"/>
          <ac:grpSpMkLst>
            <pc:docMk/>
            <pc:sldMk cId="2209006537" sldId="275"/>
            <ac:grpSpMk id="1" creationId="{00000000-0000-0000-0000-000000000000}"/>
          </ac:grpSpMkLst>
        </pc:grpChg>
        <pc:graphicFrameChg chg="mod">
          <ac:chgData name="Jahari Mercer" userId="acf837aa-a1d1-4317-9e51-ad99a85abb7b" providerId="ADAL" clId="{3EE6C60A-9938-472A-9B6C-6CA86729ECCA}" dt="2022-04-26T07:35:50.925" v="4985"/>
          <ac:graphicFrameMkLst>
            <pc:docMk/>
            <pc:sldMk cId="2209006537" sldId="275"/>
            <ac:graphicFrameMk id="5" creationId="{50A16812-4606-4E96-BBC6-EE3402E1105C}"/>
          </ac:graphicFrameMkLst>
        </pc:graphicFrameChg>
        <pc:picChg chg="add mod">
          <ac:chgData name="Jahari Mercer" userId="acf837aa-a1d1-4317-9e51-ad99a85abb7b" providerId="ADAL" clId="{3EE6C60A-9938-472A-9B6C-6CA86729ECCA}" dt="2022-04-26T08:33:17.833" v="6258" actId="1076"/>
          <ac:picMkLst>
            <pc:docMk/>
            <pc:sldMk cId="2209006537" sldId="275"/>
            <ac:picMk id="19" creationId="{822AD286-46B7-4B02-BDD8-D3EA7388098D}"/>
          </ac:picMkLst>
        </pc:picChg>
        <pc:picChg chg="add del">
          <ac:chgData name="Jahari Mercer" userId="acf837aa-a1d1-4317-9e51-ad99a85abb7b" providerId="ADAL" clId="{3EE6C60A-9938-472A-9B6C-6CA86729ECCA}" dt="2022-04-26T07:37:08.653" v="5008" actId="478"/>
          <ac:picMkLst>
            <pc:docMk/>
            <pc:sldMk cId="2209006537" sldId="275"/>
            <ac:picMk id="22" creationId="{4D9FABEB-E019-4B51-9FA6-E57D19F8F0BE}"/>
          </ac:picMkLst>
        </pc:picChg>
        <pc:picChg chg="add mod">
          <ac:chgData name="Jahari Mercer" userId="acf837aa-a1d1-4317-9e51-ad99a85abb7b" providerId="ADAL" clId="{3EE6C60A-9938-472A-9B6C-6CA86729ECCA}" dt="2022-04-26T08:33:27.338" v="6262" actId="14100"/>
          <ac:picMkLst>
            <pc:docMk/>
            <pc:sldMk cId="2209006537" sldId="275"/>
            <ac:picMk id="25" creationId="{9D700FEE-2C14-4AE5-9BB4-A2538EC708FA}"/>
          </ac:picMkLst>
        </pc:picChg>
      </pc:sldChg>
      <pc:sldMasterChg chg="addSp delSp modSp mod">
        <pc:chgData name="Jahari Mercer" userId="acf837aa-a1d1-4317-9e51-ad99a85abb7b" providerId="ADAL" clId="{3EE6C60A-9938-472A-9B6C-6CA86729ECCA}" dt="2022-04-23T18:43:22.606" v="73"/>
        <pc:sldMasterMkLst>
          <pc:docMk/>
          <pc:sldMasterMk cId="2460954070" sldId="2147483660"/>
        </pc:sldMasterMkLst>
        <pc:spChg chg="mod">
          <ac:chgData name="Jahari Mercer" userId="acf837aa-a1d1-4317-9e51-ad99a85abb7b" providerId="ADAL" clId="{3EE6C60A-9938-472A-9B6C-6CA86729ECCA}" dt="2022-04-23T18:43:21.735" v="16" actId="948"/>
          <ac:spMkLst>
            <pc:docMk/>
            <pc:sldMasterMk cId="2460954070" sldId="2147483660"/>
            <ac:spMk id="2" creationId="{00000000-0000-0000-0000-000000000000}"/>
          </ac:spMkLst>
        </pc:spChg>
        <pc:spChg chg="add del mod modVis">
          <ac:chgData name="Jahari Mercer" userId="acf837aa-a1d1-4317-9e51-ad99a85abb7b" providerId="ADAL" clId="{3EE6C60A-9938-472A-9B6C-6CA86729ECCA}" dt="2022-04-23T18:43:21.973" v="57"/>
          <ac:spMkLst>
            <pc:docMk/>
            <pc:sldMasterMk cId="2460954070" sldId="2147483660"/>
            <ac:spMk id="7" creationId="{BB509175-9FA1-4B5B-A2E4-D2E0EB7D9155}"/>
          </ac:spMkLst>
        </pc:spChg>
        <pc:graphicFrameChg chg="add mod ord modVis replST">
          <ac:chgData name="Jahari Mercer" userId="acf837aa-a1d1-4317-9e51-ad99a85abb7b" providerId="ADAL" clId="{3EE6C60A-9938-472A-9B6C-6CA86729ECCA}" dt="2022-04-23T18:43:22.606" v="73"/>
          <ac:graphicFrameMkLst>
            <pc:docMk/>
            <pc:sldMasterMk cId="2460954070" sldId="2147483660"/>
            <ac:graphicFrameMk id="8" creationId="{1CABEFF4-0ECE-4720-8FB7-E92366063A07}"/>
          </ac:graphicFrameMkLst>
        </pc:graphicFrameChg>
      </pc:sldMasterChg>
    </pc:docChg>
  </pc:docChgLst>
  <pc:docChgLst>
    <pc:chgData name="Mercer, Jahari" userId="S::jrm213@pitt.edu::acf837aa-a1d1-4317-9e51-ad99a85abb7b" providerId="AD" clId="Web-{039AA3F5-03B2-4303-B702-8351718B584F}"/>
    <pc:docChg chg="modSld">
      <pc:chgData name="Mercer, Jahari" userId="S::jrm213@pitt.edu::acf837aa-a1d1-4317-9e51-ad99a85abb7b" providerId="AD" clId="Web-{039AA3F5-03B2-4303-B702-8351718B584F}" dt="2022-04-25T23:52:30.998" v="43" actId="14100"/>
      <pc:docMkLst>
        <pc:docMk/>
      </pc:docMkLst>
      <pc:sldChg chg="modSp">
        <pc:chgData name="Mercer, Jahari" userId="S::jrm213@pitt.edu::acf837aa-a1d1-4317-9e51-ad99a85abb7b" providerId="AD" clId="Web-{039AA3F5-03B2-4303-B702-8351718B584F}" dt="2022-04-25T23:52:30.998" v="43" actId="14100"/>
        <pc:sldMkLst>
          <pc:docMk/>
          <pc:sldMk cId="3753568668" sldId="264"/>
        </pc:sldMkLst>
        <pc:graphicFrameChg chg="mod modGraphic">
          <ac:chgData name="Mercer, Jahari" userId="S::jrm213@pitt.edu::acf837aa-a1d1-4317-9e51-ad99a85abb7b" providerId="AD" clId="Web-{039AA3F5-03B2-4303-B702-8351718B584F}" dt="2022-04-25T23:52:30.998" v="43" actId="14100"/>
          <ac:graphicFrameMkLst>
            <pc:docMk/>
            <pc:sldMk cId="3753568668" sldId="264"/>
            <ac:graphicFrameMk id="13" creationId="{2C9E321B-9C6C-4BD5-9EAA-55CCBEEB57A7}"/>
          </ac:graphicFrameMkLst>
        </pc:graphicFrameChg>
      </pc:sldChg>
    </pc:docChg>
  </pc:docChgLst>
  <pc:docChgLst>
    <pc:chgData name="Mercer, Jahari" userId="S::jrm213@pitt.edu::acf837aa-a1d1-4317-9e51-ad99a85abb7b" providerId="AD" clId="Web-{F97ADFB9-CF24-46E3-87FA-EB4CB900F47D}"/>
    <pc:docChg chg="delSld modSld">
      <pc:chgData name="Mercer, Jahari" userId="S::jrm213@pitt.edu::acf837aa-a1d1-4317-9e51-ad99a85abb7b" providerId="AD" clId="Web-{F97ADFB9-CF24-46E3-87FA-EB4CB900F47D}" dt="2022-04-25T00:07:28.866" v="335"/>
      <pc:docMkLst>
        <pc:docMk/>
      </pc:docMkLst>
      <pc:sldChg chg="modSp">
        <pc:chgData name="Mercer, Jahari" userId="S::jrm213@pitt.edu::acf837aa-a1d1-4317-9e51-ad99a85abb7b" providerId="AD" clId="Web-{F97ADFB9-CF24-46E3-87FA-EB4CB900F47D}" dt="2022-04-25T00:07:22.007" v="334" actId="20577"/>
        <pc:sldMkLst>
          <pc:docMk/>
          <pc:sldMk cId="1603032356" sldId="257"/>
        </pc:sldMkLst>
        <pc:spChg chg="mod">
          <ac:chgData name="Mercer, Jahari" userId="S::jrm213@pitt.edu::acf837aa-a1d1-4317-9e51-ad99a85abb7b" providerId="AD" clId="Web-{F97ADFB9-CF24-46E3-87FA-EB4CB900F47D}" dt="2022-04-25T00:07:22.007" v="334" actId="20577"/>
          <ac:spMkLst>
            <pc:docMk/>
            <pc:sldMk cId="1603032356" sldId="257"/>
            <ac:spMk id="2" creationId="{794E4869-2558-A121-96F7-B8A3D01F3805}"/>
          </ac:spMkLst>
        </pc:spChg>
      </pc:sldChg>
      <pc:sldChg chg="modSp del">
        <pc:chgData name="Mercer, Jahari" userId="S::jrm213@pitt.edu::acf837aa-a1d1-4317-9e51-ad99a85abb7b" providerId="AD" clId="Web-{F97ADFB9-CF24-46E3-87FA-EB4CB900F47D}" dt="2022-04-25T00:07:28.866" v="335"/>
        <pc:sldMkLst>
          <pc:docMk/>
          <pc:sldMk cId="3222217810" sldId="263"/>
        </pc:sldMkLst>
        <pc:spChg chg="mod">
          <ac:chgData name="Mercer, Jahari" userId="S::jrm213@pitt.edu::acf837aa-a1d1-4317-9e51-ad99a85abb7b" providerId="AD" clId="Web-{F97ADFB9-CF24-46E3-87FA-EB4CB900F47D}" dt="2022-04-24T23:13:43.773" v="209" actId="20577"/>
          <ac:spMkLst>
            <pc:docMk/>
            <pc:sldMk cId="3222217810" sldId="263"/>
            <ac:spMk id="2" creationId="{794E4869-2558-A121-96F7-B8A3D01F3805}"/>
          </ac:spMkLst>
        </pc:spChg>
        <pc:spChg chg="mod">
          <ac:chgData name="Mercer, Jahari" userId="S::jrm213@pitt.edu::acf837aa-a1d1-4317-9e51-ad99a85abb7b" providerId="AD" clId="Web-{F97ADFB9-CF24-46E3-87FA-EB4CB900F47D}" dt="2022-04-25T00:06:22.453" v="308" actId="20577"/>
          <ac:spMkLst>
            <pc:docMk/>
            <pc:sldMk cId="3222217810" sldId="263"/>
            <ac:spMk id="3" creationId="{746138E6-2A0E-2FC3-B970-4CBD29FDD2E3}"/>
          </ac:spMkLst>
        </pc:spChg>
      </pc:sldChg>
      <pc:sldChg chg="modSp">
        <pc:chgData name="Mercer, Jahari" userId="S::jrm213@pitt.edu::acf837aa-a1d1-4317-9e51-ad99a85abb7b" providerId="AD" clId="Web-{F97ADFB9-CF24-46E3-87FA-EB4CB900F47D}" dt="2022-04-24T23:09:13.843" v="67" actId="20577"/>
        <pc:sldMkLst>
          <pc:docMk/>
          <pc:sldMk cId="4016473112" sldId="267"/>
        </pc:sldMkLst>
        <pc:spChg chg="mod">
          <ac:chgData name="Mercer, Jahari" userId="S::jrm213@pitt.edu::acf837aa-a1d1-4317-9e51-ad99a85abb7b" providerId="AD" clId="Web-{F97ADFB9-CF24-46E3-87FA-EB4CB900F47D}" dt="2022-04-24T23:09:13.843" v="67" actId="20577"/>
          <ac:spMkLst>
            <pc:docMk/>
            <pc:sldMk cId="4016473112" sldId="267"/>
            <ac:spMk id="3" creationId="{746138E6-2A0E-2FC3-B970-4CBD29FDD2E3}"/>
          </ac:spMkLst>
        </pc:spChg>
      </pc:sldChg>
      <pc:sldChg chg="modSp modNotes">
        <pc:chgData name="Mercer, Jahari" userId="S::jrm213@pitt.edu::acf837aa-a1d1-4317-9e51-ad99a85abb7b" providerId="AD" clId="Web-{F97ADFB9-CF24-46E3-87FA-EB4CB900F47D}" dt="2022-04-24T23:18:51.157" v="307" actId="20577"/>
        <pc:sldMkLst>
          <pc:docMk/>
          <pc:sldMk cId="4150646416" sldId="268"/>
        </pc:sldMkLst>
        <pc:spChg chg="mod">
          <ac:chgData name="Mercer, Jahari" userId="S::jrm213@pitt.edu::acf837aa-a1d1-4317-9e51-ad99a85abb7b" providerId="AD" clId="Web-{F97ADFB9-CF24-46E3-87FA-EB4CB900F47D}" dt="2022-04-24T23:13:49.992" v="211" actId="20577"/>
          <ac:spMkLst>
            <pc:docMk/>
            <pc:sldMk cId="4150646416" sldId="268"/>
            <ac:spMk id="2" creationId="{794E4869-2558-A121-96F7-B8A3D01F3805}"/>
          </ac:spMkLst>
        </pc:spChg>
        <pc:graphicFrameChg chg="mod modGraphic">
          <ac:chgData name="Mercer, Jahari" userId="S::jrm213@pitt.edu::acf837aa-a1d1-4317-9e51-ad99a85abb7b" providerId="AD" clId="Web-{F97ADFB9-CF24-46E3-87FA-EB4CB900F47D}" dt="2022-04-24T23:18:51.157" v="307" actId="20577"/>
          <ac:graphicFrameMkLst>
            <pc:docMk/>
            <pc:sldMk cId="4150646416" sldId="268"/>
            <ac:graphicFrameMk id="5" creationId="{52A67607-4B1A-4CDD-AB94-92529996FDA1}"/>
          </ac:graphicFrameMkLst>
        </pc:graphicFrameChg>
      </pc:sldChg>
      <pc:sldChg chg="modSp">
        <pc:chgData name="Mercer, Jahari" userId="S::jrm213@pitt.edu::acf837aa-a1d1-4317-9e51-ad99a85abb7b" providerId="AD" clId="Web-{F97ADFB9-CF24-46E3-87FA-EB4CB900F47D}" dt="2022-04-24T23:08:40.155" v="3" actId="20577"/>
        <pc:sldMkLst>
          <pc:docMk/>
          <pc:sldMk cId="523473031" sldId="269"/>
        </pc:sldMkLst>
        <pc:spChg chg="mod">
          <ac:chgData name="Mercer, Jahari" userId="S::jrm213@pitt.edu::acf837aa-a1d1-4317-9e51-ad99a85abb7b" providerId="AD" clId="Web-{F97ADFB9-CF24-46E3-87FA-EB4CB900F47D}" dt="2022-04-24T23:08:40.155" v="3" actId="20577"/>
          <ac:spMkLst>
            <pc:docMk/>
            <pc:sldMk cId="523473031" sldId="269"/>
            <ac:spMk id="3" creationId="{746138E6-2A0E-2FC3-B970-4CBD29FDD2E3}"/>
          </ac:spMkLst>
        </pc:spChg>
      </pc:sldChg>
    </pc:docChg>
  </pc:docChgLst>
  <pc:docChgLst>
    <pc:chgData name="Johnson, Tavon L [AUTOSOL/PWS/PITT]" userId="9e47bc81-aa24-4350-b0c2-d4437ec303ac" providerId="ADAL" clId="{A39A7945-9253-4F17-8840-E1A072601660}"/>
    <pc:docChg chg="custSel mod addSld delSld modSld">
      <pc:chgData name="Johnson, Tavon L [AUTOSOL/PWS/PITT]" userId="9e47bc81-aa24-4350-b0c2-d4437ec303ac" providerId="ADAL" clId="{A39A7945-9253-4F17-8840-E1A072601660}" dt="2022-04-25T23:39:28.280" v="1136"/>
      <pc:docMkLst>
        <pc:docMk/>
      </pc:docMkLst>
      <pc:sldChg chg="modSp mod">
        <pc:chgData name="Johnson, Tavon L [AUTOSOL/PWS/PITT]" userId="9e47bc81-aa24-4350-b0c2-d4437ec303ac" providerId="ADAL" clId="{A39A7945-9253-4F17-8840-E1A072601660}" dt="2022-04-25T01:16:56.236" v="1050" actId="20577"/>
        <pc:sldMkLst>
          <pc:docMk/>
          <pc:sldMk cId="1603032356" sldId="257"/>
        </pc:sldMkLst>
        <pc:spChg chg="mod">
          <ac:chgData name="Johnson, Tavon L [AUTOSOL/PWS/PITT]" userId="9e47bc81-aa24-4350-b0c2-d4437ec303ac" providerId="ADAL" clId="{A39A7945-9253-4F17-8840-E1A072601660}" dt="2022-04-25T01:16:56.236" v="1050" actId="20577"/>
          <ac:spMkLst>
            <pc:docMk/>
            <pc:sldMk cId="1603032356" sldId="257"/>
            <ac:spMk id="3" creationId="{746138E6-2A0E-2FC3-B970-4CBD29FDD2E3}"/>
          </ac:spMkLst>
        </pc:spChg>
      </pc:sldChg>
      <pc:sldChg chg="modSp modNotesTx">
        <pc:chgData name="Johnson, Tavon L [AUTOSOL/PWS/PITT]" userId="9e47bc81-aa24-4350-b0c2-d4437ec303ac" providerId="ADAL" clId="{A39A7945-9253-4F17-8840-E1A072601660}" dt="2022-04-25T23:39:28.280" v="1136"/>
        <pc:sldMkLst>
          <pc:docMk/>
          <pc:sldMk cId="3753568668" sldId="264"/>
        </pc:sldMkLst>
        <pc:graphicFrameChg chg="mod">
          <ac:chgData name="Johnson, Tavon L [AUTOSOL/PWS/PITT]" userId="9e47bc81-aa24-4350-b0c2-d4437ec303ac" providerId="ADAL" clId="{A39A7945-9253-4F17-8840-E1A072601660}" dt="2022-04-25T23:39:28.280" v="1136"/>
          <ac:graphicFrameMkLst>
            <pc:docMk/>
            <pc:sldMk cId="3753568668" sldId="264"/>
            <ac:graphicFrameMk id="13" creationId="{2C9E321B-9C6C-4BD5-9EAA-55CCBEEB57A7}"/>
          </ac:graphicFrameMkLst>
        </pc:graphicFrameChg>
      </pc:sldChg>
      <pc:sldChg chg="addSp modSp">
        <pc:chgData name="Johnson, Tavon L [AUTOSOL/PWS/PITT]" userId="9e47bc81-aa24-4350-b0c2-d4437ec303ac" providerId="ADAL" clId="{A39A7945-9253-4F17-8840-E1A072601660}" dt="2022-04-25T15:34:19.298" v="1053"/>
        <pc:sldMkLst>
          <pc:docMk/>
          <pc:sldMk cId="2630053335" sldId="266"/>
        </pc:sldMkLst>
        <pc:picChg chg="add mod">
          <ac:chgData name="Johnson, Tavon L [AUTOSOL/PWS/PITT]" userId="9e47bc81-aa24-4350-b0c2-d4437ec303ac" providerId="ADAL" clId="{A39A7945-9253-4F17-8840-E1A072601660}" dt="2022-04-25T15:34:19.298" v="1053"/>
          <ac:picMkLst>
            <pc:docMk/>
            <pc:sldMk cId="2630053335" sldId="266"/>
            <ac:picMk id="11" creationId="{C318FC15-76CF-470D-BEDA-30F9EBAFC592}"/>
          </ac:picMkLst>
        </pc:picChg>
        <pc:picChg chg="add mod">
          <ac:chgData name="Johnson, Tavon L [AUTOSOL/PWS/PITT]" userId="9e47bc81-aa24-4350-b0c2-d4437ec303ac" providerId="ADAL" clId="{A39A7945-9253-4F17-8840-E1A072601660}" dt="2022-04-25T15:34:19.298" v="1053"/>
          <ac:picMkLst>
            <pc:docMk/>
            <pc:sldMk cId="2630053335" sldId="266"/>
            <ac:picMk id="13" creationId="{0961FC84-3843-4A92-B78B-193EF1099442}"/>
          </ac:picMkLst>
        </pc:picChg>
      </pc:sldChg>
      <pc:sldChg chg="modSp">
        <pc:chgData name="Johnson, Tavon L [AUTOSOL/PWS/PITT]" userId="9e47bc81-aa24-4350-b0c2-d4437ec303ac" providerId="ADAL" clId="{A39A7945-9253-4F17-8840-E1A072601660}" dt="2022-04-25T00:22:03.165" v="918"/>
        <pc:sldMkLst>
          <pc:docMk/>
          <pc:sldMk cId="4150646416" sldId="268"/>
        </pc:sldMkLst>
        <pc:graphicFrameChg chg="mod">
          <ac:chgData name="Johnson, Tavon L [AUTOSOL/PWS/PITT]" userId="9e47bc81-aa24-4350-b0c2-d4437ec303ac" providerId="ADAL" clId="{A39A7945-9253-4F17-8840-E1A072601660}" dt="2022-04-25T00:22:03.165" v="918"/>
          <ac:graphicFrameMkLst>
            <pc:docMk/>
            <pc:sldMk cId="4150646416" sldId="268"/>
            <ac:graphicFrameMk id="5" creationId="{52A67607-4B1A-4CDD-AB94-92529996FDA1}"/>
          </ac:graphicFrameMkLst>
        </pc:graphicFrameChg>
      </pc:sldChg>
      <pc:sldChg chg="addSp modSp mod">
        <pc:chgData name="Johnson, Tavon L [AUTOSOL/PWS/PITT]" userId="9e47bc81-aa24-4350-b0c2-d4437ec303ac" providerId="ADAL" clId="{A39A7945-9253-4F17-8840-E1A072601660}" dt="2022-04-25T15:38:43.016" v="1133" actId="1037"/>
        <pc:sldMkLst>
          <pc:docMk/>
          <pc:sldMk cId="77206988" sldId="272"/>
        </pc:sldMkLst>
        <pc:spChg chg="mod">
          <ac:chgData name="Johnson, Tavon L [AUTOSOL/PWS/PITT]" userId="9e47bc81-aa24-4350-b0c2-d4437ec303ac" providerId="ADAL" clId="{A39A7945-9253-4F17-8840-E1A072601660}" dt="2022-04-25T15:34:44.560" v="1067" actId="14100"/>
          <ac:spMkLst>
            <pc:docMk/>
            <pc:sldMk cId="77206988" sldId="272"/>
            <ac:spMk id="3" creationId="{746138E6-2A0E-2FC3-B970-4CBD29FDD2E3}"/>
          </ac:spMkLst>
        </pc:spChg>
        <pc:spChg chg="add mod">
          <ac:chgData name="Johnson, Tavon L [AUTOSOL/PWS/PITT]" userId="9e47bc81-aa24-4350-b0c2-d4437ec303ac" providerId="ADAL" clId="{A39A7945-9253-4F17-8840-E1A072601660}" dt="2022-04-25T15:34:58.728" v="1083" actId="14100"/>
          <ac:spMkLst>
            <pc:docMk/>
            <pc:sldMk cId="77206988" sldId="272"/>
            <ac:spMk id="15" creationId="{8F7E9D2A-CF5D-4566-B927-ADDF1E615432}"/>
          </ac:spMkLst>
        </pc:spChg>
        <pc:picChg chg="add mod">
          <ac:chgData name="Johnson, Tavon L [AUTOSOL/PWS/PITT]" userId="9e47bc81-aa24-4350-b0c2-d4437ec303ac" providerId="ADAL" clId="{A39A7945-9253-4F17-8840-E1A072601660}" dt="2022-04-25T15:38:22.184" v="1129" actId="1037"/>
          <ac:picMkLst>
            <pc:docMk/>
            <pc:sldMk cId="77206988" sldId="272"/>
            <ac:picMk id="11" creationId="{C318FC15-76CF-470D-BEDA-30F9EBAFC592}"/>
          </ac:picMkLst>
        </pc:picChg>
        <pc:picChg chg="add mod">
          <ac:chgData name="Johnson, Tavon L [AUTOSOL/PWS/PITT]" userId="9e47bc81-aa24-4350-b0c2-d4437ec303ac" providerId="ADAL" clId="{A39A7945-9253-4F17-8840-E1A072601660}" dt="2022-04-25T15:38:43.016" v="1133" actId="1037"/>
          <ac:picMkLst>
            <pc:docMk/>
            <pc:sldMk cId="77206988" sldId="272"/>
            <ac:picMk id="13" creationId="{0961FC84-3843-4A92-B78B-193EF1099442}"/>
          </ac:picMkLst>
        </pc:picChg>
      </pc:sldChg>
      <pc:sldChg chg="addSp delSp modSp add del mod setBg delDesignElem">
        <pc:chgData name="Johnson, Tavon L [AUTOSOL/PWS/PITT]" userId="9e47bc81-aa24-4350-b0c2-d4437ec303ac" providerId="ADAL" clId="{A39A7945-9253-4F17-8840-E1A072601660}" dt="2022-04-25T23:38:16.079" v="1134" actId="47"/>
        <pc:sldMkLst>
          <pc:docMk/>
          <pc:sldMk cId="1961967921" sldId="273"/>
        </pc:sldMkLst>
        <pc:spChg chg="mod">
          <ac:chgData name="Johnson, Tavon L [AUTOSOL/PWS/PITT]" userId="9e47bc81-aa24-4350-b0c2-d4437ec303ac" providerId="ADAL" clId="{A39A7945-9253-4F17-8840-E1A072601660}" dt="2022-04-25T15:36:07.353" v="1090" actId="20577"/>
          <ac:spMkLst>
            <pc:docMk/>
            <pc:sldMk cId="1961967921" sldId="273"/>
            <ac:spMk id="3" creationId="{746138E6-2A0E-2FC3-B970-4CBD29FDD2E3}"/>
          </ac:spMkLst>
        </pc:spChg>
        <pc:spChg chg="del">
          <ac:chgData name="Johnson, Tavon L [AUTOSOL/PWS/PITT]" userId="9e47bc81-aa24-4350-b0c2-d4437ec303ac" providerId="ADAL" clId="{A39A7945-9253-4F17-8840-E1A072601660}" dt="2022-04-25T15:36:04.161" v="1085"/>
          <ac:spMkLst>
            <pc:docMk/>
            <pc:sldMk cId="1961967921" sldId="273"/>
            <ac:spMk id="8" creationId="{2B566528-1B12-4246-9431-5C2D7D081168}"/>
          </ac:spMkLst>
        </pc:spChg>
        <pc:spChg chg="del">
          <ac:chgData name="Johnson, Tavon L [AUTOSOL/PWS/PITT]" userId="9e47bc81-aa24-4350-b0c2-d4437ec303ac" providerId="ADAL" clId="{A39A7945-9253-4F17-8840-E1A072601660}" dt="2022-04-25T15:36:04.161" v="1085"/>
          <ac:spMkLst>
            <pc:docMk/>
            <pc:sldMk cId="1961967921" sldId="273"/>
            <ac:spMk id="10" creationId="{2E80C965-DB6D-4F81-9E9E-B027384D0BD6}"/>
          </ac:spMkLst>
        </pc:spChg>
        <pc:spChg chg="del">
          <ac:chgData name="Johnson, Tavon L [AUTOSOL/PWS/PITT]" userId="9e47bc81-aa24-4350-b0c2-d4437ec303ac" providerId="ADAL" clId="{A39A7945-9253-4F17-8840-E1A072601660}" dt="2022-04-25T15:36:04.161" v="1085"/>
          <ac:spMkLst>
            <pc:docMk/>
            <pc:sldMk cId="1961967921" sldId="273"/>
            <ac:spMk id="12" creationId="{A580F890-B085-4E95-96AA-55AEBEC5CE6E}"/>
          </ac:spMkLst>
        </pc:spChg>
        <pc:spChg chg="del">
          <ac:chgData name="Johnson, Tavon L [AUTOSOL/PWS/PITT]" userId="9e47bc81-aa24-4350-b0c2-d4437ec303ac" providerId="ADAL" clId="{A39A7945-9253-4F17-8840-E1A072601660}" dt="2022-04-25T15:36:04.161" v="1085"/>
          <ac:spMkLst>
            <pc:docMk/>
            <pc:sldMk cId="1961967921" sldId="273"/>
            <ac:spMk id="14" creationId="{D3F51FEB-38FB-4F6C-9F7B-2F2AFAB65463}"/>
          </ac:spMkLst>
        </pc:spChg>
        <pc:spChg chg="mod">
          <ac:chgData name="Johnson, Tavon L [AUTOSOL/PWS/PITT]" userId="9e47bc81-aa24-4350-b0c2-d4437ec303ac" providerId="ADAL" clId="{A39A7945-9253-4F17-8840-E1A072601660}" dt="2022-04-25T15:36:10.298" v="1095" actId="20577"/>
          <ac:spMkLst>
            <pc:docMk/>
            <pc:sldMk cId="1961967921" sldId="273"/>
            <ac:spMk id="15" creationId="{8F7E9D2A-CF5D-4566-B927-ADDF1E615432}"/>
          </ac:spMkLst>
        </pc:spChg>
        <pc:spChg chg="del">
          <ac:chgData name="Johnson, Tavon L [AUTOSOL/PWS/PITT]" userId="9e47bc81-aa24-4350-b0c2-d4437ec303ac" providerId="ADAL" clId="{A39A7945-9253-4F17-8840-E1A072601660}" dt="2022-04-25T15:36:04.161" v="1085"/>
          <ac:spMkLst>
            <pc:docMk/>
            <pc:sldMk cId="1961967921" sldId="273"/>
            <ac:spMk id="16" creationId="{1E547BA6-BAE0-43BB-A7CA-60F69CE252F0}"/>
          </ac:spMkLst>
        </pc:spChg>
        <pc:picChg chg="del">
          <ac:chgData name="Johnson, Tavon L [AUTOSOL/PWS/PITT]" userId="9e47bc81-aa24-4350-b0c2-d4437ec303ac" providerId="ADAL" clId="{A39A7945-9253-4F17-8840-E1A072601660}" dt="2022-04-25T15:36:12.889" v="1097" actId="478"/>
          <ac:picMkLst>
            <pc:docMk/>
            <pc:sldMk cId="1961967921" sldId="273"/>
            <ac:picMk id="11" creationId="{C318FC15-76CF-470D-BEDA-30F9EBAFC592}"/>
          </ac:picMkLst>
        </pc:picChg>
        <pc:picChg chg="del">
          <ac:chgData name="Johnson, Tavon L [AUTOSOL/PWS/PITT]" userId="9e47bc81-aa24-4350-b0c2-d4437ec303ac" providerId="ADAL" clId="{A39A7945-9253-4F17-8840-E1A072601660}" dt="2022-04-25T15:36:12.162" v="1096" actId="478"/>
          <ac:picMkLst>
            <pc:docMk/>
            <pc:sldMk cId="1961967921" sldId="273"/>
            <ac:picMk id="13" creationId="{0961FC84-3843-4A92-B78B-193EF1099442}"/>
          </ac:picMkLst>
        </pc:picChg>
        <pc:picChg chg="add del mod">
          <ac:chgData name="Johnson, Tavon L [AUTOSOL/PWS/PITT]" userId="9e47bc81-aa24-4350-b0c2-d4437ec303ac" providerId="ADAL" clId="{A39A7945-9253-4F17-8840-E1A072601660}" dt="2022-04-25T15:36:57.814" v="1116" actId="21"/>
          <ac:picMkLst>
            <pc:docMk/>
            <pc:sldMk cId="1961967921" sldId="273"/>
            <ac:picMk id="17" creationId="{5669DCAA-DCBB-40ED-A42B-77D889A24528}"/>
          </ac:picMkLst>
        </pc:picChg>
        <pc:picChg chg="add del mod">
          <ac:chgData name="Johnson, Tavon L [AUTOSOL/PWS/PITT]" userId="9e47bc81-aa24-4350-b0c2-d4437ec303ac" providerId="ADAL" clId="{A39A7945-9253-4F17-8840-E1A072601660}" dt="2022-04-25T15:36:57.814" v="1116" actId="21"/>
          <ac:picMkLst>
            <pc:docMk/>
            <pc:sldMk cId="1961967921" sldId="273"/>
            <ac:picMk id="18" creationId="{FCE11B6E-AE35-419F-90EC-27AA3F7207A3}"/>
          </ac:picMkLst>
        </pc:picChg>
      </pc:sldChg>
      <pc:sldChg chg="addSp delSp modSp add mod">
        <pc:chgData name="Johnson, Tavon L [AUTOSOL/PWS/PITT]" userId="9e47bc81-aa24-4350-b0c2-d4437ec303ac" providerId="ADAL" clId="{A39A7945-9253-4F17-8840-E1A072601660}" dt="2022-04-25T15:38:31.225" v="1132" actId="1038"/>
        <pc:sldMkLst>
          <pc:docMk/>
          <pc:sldMk cId="1547854335" sldId="274"/>
        </pc:sldMkLst>
        <pc:spChg chg="mod">
          <ac:chgData name="Johnson, Tavon L [AUTOSOL/PWS/PITT]" userId="9e47bc81-aa24-4350-b0c2-d4437ec303ac" providerId="ADAL" clId="{A39A7945-9253-4F17-8840-E1A072601660}" dt="2022-04-25T15:36:52.106" v="1110" actId="20577"/>
          <ac:spMkLst>
            <pc:docMk/>
            <pc:sldMk cId="1547854335" sldId="274"/>
            <ac:spMk id="3" creationId="{746138E6-2A0E-2FC3-B970-4CBD29FDD2E3}"/>
          </ac:spMkLst>
        </pc:spChg>
        <pc:spChg chg="mod">
          <ac:chgData name="Johnson, Tavon L [AUTOSOL/PWS/PITT]" userId="9e47bc81-aa24-4350-b0c2-d4437ec303ac" providerId="ADAL" clId="{A39A7945-9253-4F17-8840-E1A072601660}" dt="2022-04-25T15:36:54.393" v="1115" actId="20577"/>
          <ac:spMkLst>
            <pc:docMk/>
            <pc:sldMk cId="1547854335" sldId="274"/>
            <ac:spMk id="15" creationId="{8F7E9D2A-CF5D-4566-B927-ADDF1E615432}"/>
          </ac:spMkLst>
        </pc:spChg>
        <pc:picChg chg="del">
          <ac:chgData name="Johnson, Tavon L [AUTOSOL/PWS/PITT]" userId="9e47bc81-aa24-4350-b0c2-d4437ec303ac" providerId="ADAL" clId="{A39A7945-9253-4F17-8840-E1A072601660}" dt="2022-04-25T15:37:08.873" v="1120" actId="478"/>
          <ac:picMkLst>
            <pc:docMk/>
            <pc:sldMk cId="1547854335" sldId="274"/>
            <ac:picMk id="11" creationId="{C318FC15-76CF-470D-BEDA-30F9EBAFC592}"/>
          </ac:picMkLst>
        </pc:picChg>
        <pc:picChg chg="del">
          <ac:chgData name="Johnson, Tavon L [AUTOSOL/PWS/PITT]" userId="9e47bc81-aa24-4350-b0c2-d4437ec303ac" providerId="ADAL" clId="{A39A7945-9253-4F17-8840-E1A072601660}" dt="2022-04-25T15:37:11" v="1122" actId="478"/>
          <ac:picMkLst>
            <pc:docMk/>
            <pc:sldMk cId="1547854335" sldId="274"/>
            <ac:picMk id="13" creationId="{0961FC84-3843-4A92-B78B-193EF1099442}"/>
          </ac:picMkLst>
        </pc:picChg>
        <pc:picChg chg="add mod">
          <ac:chgData name="Johnson, Tavon L [AUTOSOL/PWS/PITT]" userId="9e47bc81-aa24-4350-b0c2-d4437ec303ac" providerId="ADAL" clId="{A39A7945-9253-4F17-8840-E1A072601660}" dt="2022-04-25T15:37:12.128" v="1123" actId="1076"/>
          <ac:picMkLst>
            <pc:docMk/>
            <pc:sldMk cId="1547854335" sldId="274"/>
            <ac:picMk id="17" creationId="{DF2F7BC5-35B3-4E0E-8502-CF1E1F41CBFC}"/>
          </ac:picMkLst>
        </pc:picChg>
        <pc:picChg chg="add mod">
          <ac:chgData name="Johnson, Tavon L [AUTOSOL/PWS/PITT]" userId="9e47bc81-aa24-4350-b0c2-d4437ec303ac" providerId="ADAL" clId="{A39A7945-9253-4F17-8840-E1A072601660}" dt="2022-04-25T15:38:31.225" v="1132" actId="1038"/>
          <ac:picMkLst>
            <pc:docMk/>
            <pc:sldMk cId="1547854335" sldId="274"/>
            <ac:picMk id="18" creationId="{EF41D240-0DF3-4455-A3A9-33D1D349DFAA}"/>
          </ac:picMkLst>
        </pc:picChg>
      </pc:sldChg>
      <pc:sldChg chg="addSp delSp add del setBg delDesignElem">
        <pc:chgData name="Johnson, Tavon L [AUTOSOL/PWS/PITT]" userId="9e47bc81-aa24-4350-b0c2-d4437ec303ac" providerId="ADAL" clId="{A39A7945-9253-4F17-8840-E1A072601660}" dt="2022-04-25T15:36:46.254" v="1104"/>
        <pc:sldMkLst>
          <pc:docMk/>
          <pc:sldMk cId="2118025162" sldId="274"/>
        </pc:sldMkLst>
        <pc:spChg chg="add del">
          <ac:chgData name="Johnson, Tavon L [AUTOSOL/PWS/PITT]" userId="9e47bc81-aa24-4350-b0c2-d4437ec303ac" providerId="ADAL" clId="{A39A7945-9253-4F17-8840-E1A072601660}" dt="2022-04-25T15:36:46.254" v="1104"/>
          <ac:spMkLst>
            <pc:docMk/>
            <pc:sldMk cId="2118025162" sldId="274"/>
            <ac:spMk id="8" creationId="{2B566528-1B12-4246-9431-5C2D7D081168}"/>
          </ac:spMkLst>
        </pc:spChg>
        <pc:spChg chg="add del">
          <ac:chgData name="Johnson, Tavon L [AUTOSOL/PWS/PITT]" userId="9e47bc81-aa24-4350-b0c2-d4437ec303ac" providerId="ADAL" clId="{A39A7945-9253-4F17-8840-E1A072601660}" dt="2022-04-25T15:36:46.254" v="1104"/>
          <ac:spMkLst>
            <pc:docMk/>
            <pc:sldMk cId="2118025162" sldId="274"/>
            <ac:spMk id="10" creationId="{2E80C965-DB6D-4F81-9E9E-B027384D0BD6}"/>
          </ac:spMkLst>
        </pc:spChg>
        <pc:spChg chg="add del">
          <ac:chgData name="Johnson, Tavon L [AUTOSOL/PWS/PITT]" userId="9e47bc81-aa24-4350-b0c2-d4437ec303ac" providerId="ADAL" clId="{A39A7945-9253-4F17-8840-E1A072601660}" dt="2022-04-25T15:36:46.254" v="1104"/>
          <ac:spMkLst>
            <pc:docMk/>
            <pc:sldMk cId="2118025162" sldId="274"/>
            <ac:spMk id="12" creationId="{A580F890-B085-4E95-96AA-55AEBEC5CE6E}"/>
          </ac:spMkLst>
        </pc:spChg>
        <pc:spChg chg="add del">
          <ac:chgData name="Johnson, Tavon L [AUTOSOL/PWS/PITT]" userId="9e47bc81-aa24-4350-b0c2-d4437ec303ac" providerId="ADAL" clId="{A39A7945-9253-4F17-8840-E1A072601660}" dt="2022-04-25T15:36:46.254" v="1104"/>
          <ac:spMkLst>
            <pc:docMk/>
            <pc:sldMk cId="2118025162" sldId="274"/>
            <ac:spMk id="14" creationId="{D3F51FEB-38FB-4F6C-9F7B-2F2AFAB65463}"/>
          </ac:spMkLst>
        </pc:spChg>
        <pc:spChg chg="add del">
          <ac:chgData name="Johnson, Tavon L [AUTOSOL/PWS/PITT]" userId="9e47bc81-aa24-4350-b0c2-d4437ec303ac" providerId="ADAL" clId="{A39A7945-9253-4F17-8840-E1A072601660}" dt="2022-04-25T15:36:46.254" v="1104"/>
          <ac:spMkLst>
            <pc:docMk/>
            <pc:sldMk cId="2118025162" sldId="274"/>
            <ac:spMk id="16" creationId="{1E547BA6-BAE0-43BB-A7CA-60F69CE252F0}"/>
          </ac:spMkLst>
        </pc:spChg>
      </pc:sldChg>
    </pc:docChg>
  </pc:docChgLst>
  <pc:docChgLst>
    <pc:chgData name="Johnson, Tavon L [AUTOSOL/PWS/PITT]" userId="S::tavon.johnson_emerson.com#ext#@pitt.onmicrosoft.com::c1ace57a-675d-4aec-b0d7-9279d2c71302" providerId="AD" clId="Web-{000E5BC8-235C-4C5C-AAAB-F556C7E695DF}"/>
    <pc:docChg chg="modSld">
      <pc:chgData name="Johnson, Tavon L [AUTOSOL/PWS/PITT]" userId="S::tavon.johnson_emerson.com#ext#@pitt.onmicrosoft.com::c1ace57a-675d-4aec-b0d7-9279d2c71302" providerId="AD" clId="Web-{000E5BC8-235C-4C5C-AAAB-F556C7E695DF}" dt="2022-04-25T13:27:50.769" v="3" actId="20577"/>
      <pc:docMkLst>
        <pc:docMk/>
      </pc:docMkLst>
      <pc:sldChg chg="modSp">
        <pc:chgData name="Johnson, Tavon L [AUTOSOL/PWS/PITT]" userId="S::tavon.johnson_emerson.com#ext#@pitt.onmicrosoft.com::c1ace57a-675d-4aec-b0d7-9279d2c71302" providerId="AD" clId="Web-{000E5BC8-235C-4C5C-AAAB-F556C7E695DF}" dt="2022-04-25T13:27:50.769" v="3" actId="20577"/>
        <pc:sldMkLst>
          <pc:docMk/>
          <pc:sldMk cId="1603032356" sldId="257"/>
        </pc:sldMkLst>
        <pc:spChg chg="mod">
          <ac:chgData name="Johnson, Tavon L [AUTOSOL/PWS/PITT]" userId="S::tavon.johnson_emerson.com#ext#@pitt.onmicrosoft.com::c1ace57a-675d-4aec-b0d7-9279d2c71302" providerId="AD" clId="Web-{000E5BC8-235C-4C5C-AAAB-F556C7E695DF}" dt="2022-04-25T13:27:50.769" v="3" actId="20577"/>
          <ac:spMkLst>
            <pc:docMk/>
            <pc:sldMk cId="1603032356" sldId="257"/>
            <ac:spMk id="3" creationId="{746138E6-2A0E-2FC3-B970-4CBD29FDD2E3}"/>
          </ac:spMkLst>
        </pc:spChg>
      </pc:sldChg>
    </pc:docChg>
  </pc:docChgLst>
  <pc:docChgLst>
    <pc:chgData name="Mercer, Jahari" userId="S::jrm213@pitt.edu::acf837aa-a1d1-4317-9e51-ad99a85abb7b" providerId="AD" clId="Web-{BCC310EC-6CB2-4C4B-92FF-DEFF7C3292D3}"/>
    <pc:docChg chg="modSld">
      <pc:chgData name="Mercer, Jahari" userId="S::jrm213@pitt.edu::acf837aa-a1d1-4317-9e51-ad99a85abb7b" providerId="AD" clId="Web-{BCC310EC-6CB2-4C4B-92FF-DEFF7C3292D3}" dt="2022-04-25T00:23:37.210" v="65"/>
      <pc:docMkLst>
        <pc:docMk/>
      </pc:docMkLst>
      <pc:sldChg chg="addSp delSp modSp">
        <pc:chgData name="Mercer, Jahari" userId="S::jrm213@pitt.edu::acf837aa-a1d1-4317-9e51-ad99a85abb7b" providerId="AD" clId="Web-{BCC310EC-6CB2-4C4B-92FF-DEFF7C3292D3}" dt="2022-04-25T00:23:37.210" v="65"/>
        <pc:sldMkLst>
          <pc:docMk/>
          <pc:sldMk cId="4150646416" sldId="268"/>
        </pc:sldMkLst>
        <pc:graphicFrameChg chg="modGraphic">
          <ac:chgData name="Mercer, Jahari" userId="S::jrm213@pitt.edu::acf837aa-a1d1-4317-9e51-ad99a85abb7b" providerId="AD" clId="Web-{BCC310EC-6CB2-4C4B-92FF-DEFF7C3292D3}" dt="2022-04-25T00:23:30.210" v="63" actId="20577"/>
          <ac:graphicFrameMkLst>
            <pc:docMk/>
            <pc:sldMk cId="4150646416" sldId="268"/>
            <ac:graphicFrameMk id="5" creationId="{52A67607-4B1A-4CDD-AB94-92529996FDA1}"/>
          </ac:graphicFrameMkLst>
        </pc:graphicFrameChg>
        <pc:picChg chg="add del mod">
          <ac:chgData name="Mercer, Jahari" userId="S::jrm213@pitt.edu::acf837aa-a1d1-4317-9e51-ad99a85abb7b" providerId="AD" clId="Web-{BCC310EC-6CB2-4C4B-92FF-DEFF7C3292D3}" dt="2022-04-25T00:23:37.210" v="65"/>
          <ac:picMkLst>
            <pc:docMk/>
            <pc:sldMk cId="4150646416" sldId="268"/>
            <ac:picMk id="531" creationId="{E6FE4DEB-0631-4DE0-71A8-326834DAB270}"/>
          </ac:picMkLst>
        </pc:picChg>
      </pc:sldChg>
    </pc:docChg>
  </pc:docChgLst>
  <pc:docChgLst>
    <pc:chgData name="Mercer, Jahari" userId="S::jrm213@pitt.edu::acf837aa-a1d1-4317-9e51-ad99a85abb7b" providerId="AD" clId="Web-{0DED9284-E57C-4E94-8A28-9CE81D25F47B}"/>
    <pc:docChg chg="addSld delSld modSld">
      <pc:chgData name="Mercer, Jahari" userId="S::jrm213@pitt.edu::acf837aa-a1d1-4317-9e51-ad99a85abb7b" providerId="AD" clId="Web-{0DED9284-E57C-4E94-8A28-9CE81D25F47B}" dt="2022-04-22T19:26:28.093" v="307" actId="14100"/>
      <pc:docMkLst>
        <pc:docMk/>
      </pc:docMkLst>
      <pc:sldChg chg="addSp delSp modSp mod setBg setClrOvrMap">
        <pc:chgData name="Mercer, Jahari" userId="S::jrm213@pitt.edu::acf837aa-a1d1-4317-9e51-ad99a85abb7b" providerId="AD" clId="Web-{0DED9284-E57C-4E94-8A28-9CE81D25F47B}" dt="2022-04-22T19:26:28.093" v="307" actId="14100"/>
        <pc:sldMkLst>
          <pc:docMk/>
          <pc:sldMk cId="109857222" sldId="256"/>
        </pc:sldMkLst>
        <pc:spChg chg="mod">
          <ac:chgData name="Mercer, Jahari" userId="S::jrm213@pitt.edu::acf837aa-a1d1-4317-9e51-ad99a85abb7b" providerId="AD" clId="Web-{0DED9284-E57C-4E94-8A28-9CE81D25F47B}" dt="2022-04-22T19:26:28.093" v="307" actId="14100"/>
          <ac:spMkLst>
            <pc:docMk/>
            <pc:sldMk cId="109857222" sldId="256"/>
            <ac:spMk id="2" creationId="{00000000-0000-0000-0000-000000000000}"/>
          </ac:spMkLst>
        </pc:spChg>
        <pc:spChg chg="mod ord">
          <ac:chgData name="Mercer, Jahari" userId="S::jrm213@pitt.edu::acf837aa-a1d1-4317-9e51-ad99a85abb7b" providerId="AD" clId="Web-{0DED9284-E57C-4E94-8A28-9CE81D25F47B}" dt="2022-04-22T19:26:19.734" v="306" actId="20577"/>
          <ac:spMkLst>
            <pc:docMk/>
            <pc:sldMk cId="109857222" sldId="256"/>
            <ac:spMk id="3" creationId="{00000000-0000-0000-0000-000000000000}"/>
          </ac:spMkLst>
        </pc:spChg>
        <pc:spChg chg="del">
          <ac:chgData name="Mercer, Jahari" userId="S::jrm213@pitt.edu::acf837aa-a1d1-4317-9e51-ad99a85abb7b" providerId="AD" clId="Web-{0DED9284-E57C-4E94-8A28-9CE81D25F47B}" dt="2022-04-22T19:08:46.810" v="233"/>
          <ac:spMkLst>
            <pc:docMk/>
            <pc:sldMk cId="109857222" sldId="256"/>
            <ac:spMk id="5" creationId="{D070476E-0389-1171-FA45-9C4042A7F135}"/>
          </ac:spMkLst>
        </pc:spChg>
        <pc:spChg chg="add del mod">
          <ac:chgData name="Mercer, Jahari" userId="S::jrm213@pitt.edu::acf837aa-a1d1-4317-9e51-ad99a85abb7b" providerId="AD" clId="Web-{0DED9284-E57C-4E94-8A28-9CE81D25F47B}" dt="2022-04-22T19:11:17.233" v="261"/>
          <ac:spMkLst>
            <pc:docMk/>
            <pc:sldMk cId="109857222" sldId="256"/>
            <ac:spMk id="7" creationId="{0E7EB1CA-3D92-BB60-2D87-A33D2344FBA4}"/>
          </ac:spMkLst>
        </pc:spChg>
        <pc:spChg chg="add del">
          <ac:chgData name="Mercer, Jahari" userId="S::jrm213@pitt.edu::acf837aa-a1d1-4317-9e51-ad99a85abb7b" providerId="AD" clId="Web-{0DED9284-E57C-4E94-8A28-9CE81D25F47B}" dt="2022-04-22T19:09:50.436" v="248"/>
          <ac:spMkLst>
            <pc:docMk/>
            <pc:sldMk cId="109857222" sldId="256"/>
            <ac:spMk id="10" creationId="{87CC2527-562A-4F69-B487-4371E5B243E7}"/>
          </ac:spMkLst>
        </pc:spChg>
        <pc:spChg chg="add del mod">
          <ac:chgData name="Mercer, Jahari" userId="S::jrm213@pitt.edu::acf837aa-a1d1-4317-9e51-ad99a85abb7b" providerId="AD" clId="Web-{0DED9284-E57C-4E94-8A28-9CE81D25F47B}" dt="2022-04-22T19:10:39.967" v="258"/>
          <ac:spMkLst>
            <pc:docMk/>
            <pc:sldMk cId="109857222" sldId="256"/>
            <ac:spMk id="11" creationId="{E7584878-60A9-0562-0089-FCBA8DA1AF98}"/>
          </ac:spMkLst>
        </pc:spChg>
        <pc:spChg chg="add del">
          <ac:chgData name="Mercer, Jahari" userId="S::jrm213@pitt.edu::acf837aa-a1d1-4317-9e51-ad99a85abb7b" providerId="AD" clId="Web-{0DED9284-E57C-4E94-8A28-9CE81D25F47B}" dt="2022-04-22T19:09:10.014" v="235"/>
          <ac:spMkLst>
            <pc:docMk/>
            <pc:sldMk cId="109857222" sldId="256"/>
            <ac:spMk id="17" creationId="{0671A8AE-40A1-4631-A6B8-581AFF065482}"/>
          </ac:spMkLst>
        </pc:spChg>
        <pc:spChg chg="add del">
          <ac:chgData name="Mercer, Jahari" userId="S::jrm213@pitt.edu::acf837aa-a1d1-4317-9e51-ad99a85abb7b" providerId="AD" clId="Web-{0DED9284-E57C-4E94-8A28-9CE81D25F47B}" dt="2022-04-22T19:09:10.014" v="235"/>
          <ac:spMkLst>
            <pc:docMk/>
            <pc:sldMk cId="109857222" sldId="256"/>
            <ac:spMk id="19" creationId="{AB58EF07-17C2-48CF-ABB0-EEF1F17CB8F0}"/>
          </ac:spMkLst>
        </pc:spChg>
        <pc:spChg chg="add del">
          <ac:chgData name="Mercer, Jahari" userId="S::jrm213@pitt.edu::acf837aa-a1d1-4317-9e51-ad99a85abb7b" providerId="AD" clId="Web-{0DED9284-E57C-4E94-8A28-9CE81D25F47B}" dt="2022-04-22T19:09:10.014" v="235"/>
          <ac:spMkLst>
            <pc:docMk/>
            <pc:sldMk cId="109857222" sldId="256"/>
            <ac:spMk id="21" creationId="{AF2F604E-43BE-4DC3-B983-E071523364F8}"/>
          </ac:spMkLst>
        </pc:spChg>
        <pc:spChg chg="add del">
          <ac:chgData name="Mercer, Jahari" userId="S::jrm213@pitt.edu::acf837aa-a1d1-4317-9e51-ad99a85abb7b" providerId="AD" clId="Web-{0DED9284-E57C-4E94-8A28-9CE81D25F47B}" dt="2022-04-22T19:09:10.014" v="235"/>
          <ac:spMkLst>
            <pc:docMk/>
            <pc:sldMk cId="109857222" sldId="256"/>
            <ac:spMk id="23" creationId="{08C9B587-E65E-4B52-B37C-ABEBB6E87928}"/>
          </ac:spMkLst>
        </pc:spChg>
        <pc:spChg chg="add del">
          <ac:chgData name="Mercer, Jahari" userId="S::jrm213@pitt.edu::acf837aa-a1d1-4317-9e51-ad99a85abb7b" providerId="AD" clId="Web-{0DED9284-E57C-4E94-8A28-9CE81D25F47B}" dt="2022-04-22T19:09:13.967" v="237"/>
          <ac:spMkLst>
            <pc:docMk/>
            <pc:sldMk cId="109857222" sldId="256"/>
            <ac:spMk id="25" creationId="{68AF5748-FED8-45BA-8631-26D1D10F3246}"/>
          </ac:spMkLst>
        </pc:spChg>
        <pc:spChg chg="add del">
          <ac:chgData name="Mercer, Jahari" userId="S::jrm213@pitt.edu::acf837aa-a1d1-4317-9e51-ad99a85abb7b" providerId="AD" clId="Web-{0DED9284-E57C-4E94-8A28-9CE81D25F47B}" dt="2022-04-22T19:09:13.967" v="237"/>
          <ac:spMkLst>
            <pc:docMk/>
            <pc:sldMk cId="109857222" sldId="256"/>
            <ac:spMk id="26" creationId="{AF2F604E-43BE-4DC3-B983-E071523364F8}"/>
          </ac:spMkLst>
        </pc:spChg>
        <pc:spChg chg="add del">
          <ac:chgData name="Mercer, Jahari" userId="S::jrm213@pitt.edu::acf837aa-a1d1-4317-9e51-ad99a85abb7b" providerId="AD" clId="Web-{0DED9284-E57C-4E94-8A28-9CE81D25F47B}" dt="2022-04-22T19:09:13.967" v="237"/>
          <ac:spMkLst>
            <pc:docMk/>
            <pc:sldMk cId="109857222" sldId="256"/>
            <ac:spMk id="27" creationId="{08C9B587-E65E-4B52-B37C-ABEBB6E87928}"/>
          </ac:spMkLst>
        </pc:spChg>
        <pc:spChg chg="add del">
          <ac:chgData name="Mercer, Jahari" userId="S::jrm213@pitt.edu::acf837aa-a1d1-4317-9e51-ad99a85abb7b" providerId="AD" clId="Web-{0DED9284-E57C-4E94-8A28-9CE81D25F47B}" dt="2022-04-22T19:09:16.857" v="239"/>
          <ac:spMkLst>
            <pc:docMk/>
            <pc:sldMk cId="109857222" sldId="256"/>
            <ac:spMk id="29" creationId="{D462EE7E-14DF-497D-AE08-F6623DB88E99}"/>
          </ac:spMkLst>
        </pc:spChg>
        <pc:spChg chg="add del">
          <ac:chgData name="Mercer, Jahari" userId="S::jrm213@pitt.edu::acf837aa-a1d1-4317-9e51-ad99a85abb7b" providerId="AD" clId="Web-{0DED9284-E57C-4E94-8A28-9CE81D25F47B}" dt="2022-04-22T19:09:16.857" v="239"/>
          <ac:spMkLst>
            <pc:docMk/>
            <pc:sldMk cId="109857222" sldId="256"/>
            <ac:spMk id="30" creationId="{2B7373E6-4724-4F6F-B078-E82B0AE895C8}"/>
          </ac:spMkLst>
        </pc:spChg>
        <pc:spChg chg="add del">
          <ac:chgData name="Mercer, Jahari" userId="S::jrm213@pitt.edu::acf837aa-a1d1-4317-9e51-ad99a85abb7b" providerId="AD" clId="Web-{0DED9284-E57C-4E94-8A28-9CE81D25F47B}" dt="2022-04-22T19:09:21.717" v="241"/>
          <ac:spMkLst>
            <pc:docMk/>
            <pc:sldMk cId="109857222" sldId="256"/>
            <ac:spMk id="32" creationId="{E91DC736-0EF8-4F87-9146-EBF1D2EE4D3D}"/>
          </ac:spMkLst>
        </pc:spChg>
        <pc:spChg chg="add del">
          <ac:chgData name="Mercer, Jahari" userId="S::jrm213@pitt.edu::acf837aa-a1d1-4317-9e51-ad99a85abb7b" providerId="AD" clId="Web-{0DED9284-E57C-4E94-8A28-9CE81D25F47B}" dt="2022-04-22T19:09:21.717" v="241"/>
          <ac:spMkLst>
            <pc:docMk/>
            <pc:sldMk cId="109857222" sldId="256"/>
            <ac:spMk id="33" creationId="{097CD68E-23E3-4007-8847-CD0944C4F7BE}"/>
          </ac:spMkLst>
        </pc:spChg>
        <pc:spChg chg="add del">
          <ac:chgData name="Mercer, Jahari" userId="S::jrm213@pitt.edu::acf837aa-a1d1-4317-9e51-ad99a85abb7b" providerId="AD" clId="Web-{0DED9284-E57C-4E94-8A28-9CE81D25F47B}" dt="2022-04-22T19:09:21.717" v="241"/>
          <ac:spMkLst>
            <pc:docMk/>
            <pc:sldMk cId="109857222" sldId="256"/>
            <ac:spMk id="34" creationId="{AF2F604E-43BE-4DC3-B983-E071523364F8}"/>
          </ac:spMkLst>
        </pc:spChg>
        <pc:spChg chg="add del">
          <ac:chgData name="Mercer, Jahari" userId="S::jrm213@pitt.edu::acf837aa-a1d1-4317-9e51-ad99a85abb7b" providerId="AD" clId="Web-{0DED9284-E57C-4E94-8A28-9CE81D25F47B}" dt="2022-04-22T19:09:21.717" v="241"/>
          <ac:spMkLst>
            <pc:docMk/>
            <pc:sldMk cId="109857222" sldId="256"/>
            <ac:spMk id="35" creationId="{08C9B587-E65E-4B52-B37C-ABEBB6E87928}"/>
          </ac:spMkLst>
        </pc:spChg>
        <pc:spChg chg="add del">
          <ac:chgData name="Mercer, Jahari" userId="S::jrm213@pitt.edu::acf837aa-a1d1-4317-9e51-ad99a85abb7b" providerId="AD" clId="Web-{0DED9284-E57C-4E94-8A28-9CE81D25F47B}" dt="2022-04-22T19:09:32.045" v="243"/>
          <ac:spMkLst>
            <pc:docMk/>
            <pc:sldMk cId="109857222" sldId="256"/>
            <ac:spMk id="37" creationId="{87CC2527-562A-4F69-B487-4371E5B243E7}"/>
          </ac:spMkLst>
        </pc:spChg>
        <pc:spChg chg="add del">
          <ac:chgData name="Mercer, Jahari" userId="S::jrm213@pitt.edu::acf837aa-a1d1-4317-9e51-ad99a85abb7b" providerId="AD" clId="Web-{0DED9284-E57C-4E94-8A28-9CE81D25F47B}" dt="2022-04-22T19:09:37.561" v="245"/>
          <ac:spMkLst>
            <pc:docMk/>
            <pc:sldMk cId="109857222" sldId="256"/>
            <ac:spMk id="40" creationId="{9B7AD9F6-8CE7-4299-8FC6-328F4DCD3FF9}"/>
          </ac:spMkLst>
        </pc:spChg>
        <pc:spChg chg="add del">
          <ac:chgData name="Mercer, Jahari" userId="S::jrm213@pitt.edu::acf837aa-a1d1-4317-9e51-ad99a85abb7b" providerId="AD" clId="Web-{0DED9284-E57C-4E94-8A28-9CE81D25F47B}" dt="2022-04-22T19:09:37.561" v="245"/>
          <ac:spMkLst>
            <pc:docMk/>
            <pc:sldMk cId="109857222" sldId="256"/>
            <ac:spMk id="41" creationId="{F49775AF-8896-43EE-92C6-83497D6DC56F}"/>
          </ac:spMkLst>
        </pc:spChg>
        <pc:spChg chg="add del">
          <ac:chgData name="Mercer, Jahari" userId="S::jrm213@pitt.edu::acf837aa-a1d1-4317-9e51-ad99a85abb7b" providerId="AD" clId="Web-{0DED9284-E57C-4E94-8A28-9CE81D25F47B}" dt="2022-04-22T19:09:50.420" v="247"/>
          <ac:spMkLst>
            <pc:docMk/>
            <pc:sldMk cId="109857222" sldId="256"/>
            <ac:spMk id="43" creationId="{04A130CA-991E-4C92-A494-EB7D8666EFED}"/>
          </ac:spMkLst>
        </pc:spChg>
        <pc:spChg chg="add del">
          <ac:chgData name="Mercer, Jahari" userId="S::jrm213@pitt.edu::acf837aa-a1d1-4317-9e51-ad99a85abb7b" providerId="AD" clId="Web-{0DED9284-E57C-4E94-8A28-9CE81D25F47B}" dt="2022-04-22T19:09:50.420" v="247"/>
          <ac:spMkLst>
            <pc:docMk/>
            <pc:sldMk cId="109857222" sldId="256"/>
            <ac:spMk id="44" creationId="{FC3C749F-9A26-4B1E-BC2E-572D03DF9593}"/>
          </ac:spMkLst>
        </pc:spChg>
        <pc:spChg chg="add del">
          <ac:chgData name="Mercer, Jahari" userId="S::jrm213@pitt.edu::acf837aa-a1d1-4317-9e51-ad99a85abb7b" providerId="AD" clId="Web-{0DED9284-E57C-4E94-8A28-9CE81D25F47B}" dt="2022-04-22T19:09:50.420" v="247"/>
          <ac:spMkLst>
            <pc:docMk/>
            <pc:sldMk cId="109857222" sldId="256"/>
            <ac:spMk id="45" creationId="{F98D51C6-1188-49B8-B829-31D2C2813F10}"/>
          </ac:spMkLst>
        </pc:spChg>
        <pc:spChg chg="add del">
          <ac:chgData name="Mercer, Jahari" userId="S::jrm213@pitt.edu::acf837aa-a1d1-4317-9e51-ad99a85abb7b" providerId="AD" clId="Web-{0DED9284-E57C-4E94-8A28-9CE81D25F47B}" dt="2022-04-22T19:09:50.420" v="247"/>
          <ac:spMkLst>
            <pc:docMk/>
            <pc:sldMk cId="109857222" sldId="256"/>
            <ac:spMk id="46" creationId="{456BA586-8922-4113-BD35-BBF1EB1A1F42}"/>
          </ac:spMkLst>
        </pc:spChg>
        <pc:spChg chg="add del">
          <ac:chgData name="Mercer, Jahari" userId="S::jrm213@pitt.edu::acf837aa-a1d1-4317-9e51-ad99a85abb7b" providerId="AD" clId="Web-{0DED9284-E57C-4E94-8A28-9CE81D25F47B}" dt="2022-04-22T19:09:50.420" v="247"/>
          <ac:spMkLst>
            <pc:docMk/>
            <pc:sldMk cId="109857222" sldId="256"/>
            <ac:spMk id="47" creationId="{B497CCB5-5FC2-473C-AFCC-2430CEF1DF71}"/>
          </ac:spMkLst>
        </pc:spChg>
        <pc:spChg chg="add del">
          <ac:chgData name="Mercer, Jahari" userId="S::jrm213@pitt.edu::acf837aa-a1d1-4317-9e51-ad99a85abb7b" providerId="AD" clId="Web-{0DED9284-E57C-4E94-8A28-9CE81D25F47B}" dt="2022-04-22T19:09:50.420" v="247"/>
          <ac:spMkLst>
            <pc:docMk/>
            <pc:sldMk cId="109857222" sldId="256"/>
            <ac:spMk id="48" creationId="{599C8C75-BFDF-44E7-A028-EEB5EDD58817}"/>
          </ac:spMkLst>
        </pc:spChg>
        <pc:spChg chg="add del">
          <ac:chgData name="Mercer, Jahari" userId="S::jrm213@pitt.edu::acf837aa-a1d1-4317-9e51-ad99a85abb7b" providerId="AD" clId="Web-{0DED9284-E57C-4E94-8A28-9CE81D25F47B}" dt="2022-04-22T19:11:24.108" v="262"/>
          <ac:spMkLst>
            <pc:docMk/>
            <pc:sldMk cId="109857222" sldId="256"/>
            <ac:spMk id="50" creationId="{71B2258F-86CA-4D4D-8270-BC05FCDEBFB3}"/>
          </ac:spMkLst>
        </pc:spChg>
        <pc:spChg chg="add del">
          <ac:chgData name="Mercer, Jahari" userId="S::jrm213@pitt.edu::acf837aa-a1d1-4317-9e51-ad99a85abb7b" providerId="AD" clId="Web-{0DED9284-E57C-4E94-8A28-9CE81D25F47B}" dt="2022-04-22T19:17:56.014" v="281"/>
          <ac:spMkLst>
            <pc:docMk/>
            <pc:sldMk cId="109857222" sldId="256"/>
            <ac:spMk id="55" creationId="{87CC2527-562A-4F69-B487-4371E5B243E7}"/>
          </ac:spMkLst>
        </pc:spChg>
        <pc:spChg chg="add del">
          <ac:chgData name="Mercer, Jahari" userId="S::jrm213@pitt.edu::acf837aa-a1d1-4317-9e51-ad99a85abb7b" providerId="AD" clId="Web-{0DED9284-E57C-4E94-8A28-9CE81D25F47B}" dt="2022-04-22T19:23:58.030" v="290"/>
          <ac:spMkLst>
            <pc:docMk/>
            <pc:sldMk cId="109857222" sldId="256"/>
            <ac:spMk id="62" creationId="{C1DD1A8A-57D5-4A81-AD04-532B043C5611}"/>
          </ac:spMkLst>
        </pc:spChg>
        <pc:spChg chg="add del">
          <ac:chgData name="Mercer, Jahari" userId="S::jrm213@pitt.edu::acf837aa-a1d1-4317-9e51-ad99a85abb7b" providerId="AD" clId="Web-{0DED9284-E57C-4E94-8A28-9CE81D25F47B}" dt="2022-04-22T19:23:58.030" v="290"/>
          <ac:spMkLst>
            <pc:docMk/>
            <pc:sldMk cId="109857222" sldId="256"/>
            <ac:spMk id="64" creationId="{007891EC-4501-44ED-A8C8-B11B6DB767AB}"/>
          </ac:spMkLst>
        </pc:spChg>
        <pc:spChg chg="add del">
          <ac:chgData name="Mercer, Jahari" userId="S::jrm213@pitt.edu::acf837aa-a1d1-4317-9e51-ad99a85abb7b" providerId="AD" clId="Web-{0DED9284-E57C-4E94-8A28-9CE81D25F47B}" dt="2022-04-22T19:23:57.999" v="289"/>
          <ac:spMkLst>
            <pc:docMk/>
            <pc:sldMk cId="109857222" sldId="256"/>
            <ac:spMk id="70" creationId="{ECC07320-C2CA-4E29-8481-9D9E143C7788}"/>
          </ac:spMkLst>
        </pc:spChg>
        <pc:spChg chg="add del">
          <ac:chgData name="Mercer, Jahari" userId="S::jrm213@pitt.edu::acf837aa-a1d1-4317-9e51-ad99a85abb7b" providerId="AD" clId="Web-{0DED9284-E57C-4E94-8A28-9CE81D25F47B}" dt="2022-04-22T19:25:36.109" v="297"/>
          <ac:spMkLst>
            <pc:docMk/>
            <pc:sldMk cId="109857222" sldId="256"/>
            <ac:spMk id="72" creationId="{007891EC-4501-44ED-A8C8-B11B6DB767AB}"/>
          </ac:spMkLst>
        </pc:spChg>
        <pc:spChg chg="add del">
          <ac:chgData name="Mercer, Jahari" userId="S::jrm213@pitt.edu::acf837aa-a1d1-4317-9e51-ad99a85abb7b" providerId="AD" clId="Web-{0DED9284-E57C-4E94-8A28-9CE81D25F47B}" dt="2022-04-22T19:25:36.109" v="297"/>
          <ac:spMkLst>
            <pc:docMk/>
            <pc:sldMk cId="109857222" sldId="256"/>
            <ac:spMk id="73" creationId="{C1DD1A8A-57D5-4A81-AD04-532B043C5611}"/>
          </ac:spMkLst>
        </pc:spChg>
        <pc:spChg chg="add del">
          <ac:chgData name="Mercer, Jahari" userId="S::jrm213@pitt.edu::acf837aa-a1d1-4317-9e51-ad99a85abb7b" providerId="AD" clId="Web-{0DED9284-E57C-4E94-8A28-9CE81D25F47B}" dt="2022-04-22T19:25:25.312" v="294"/>
          <ac:spMkLst>
            <pc:docMk/>
            <pc:sldMk cId="109857222" sldId="256"/>
            <ac:spMk id="78" creationId="{C1DD1A8A-57D5-4A81-AD04-532B043C5611}"/>
          </ac:spMkLst>
        </pc:spChg>
        <pc:spChg chg="add del">
          <ac:chgData name="Mercer, Jahari" userId="S::jrm213@pitt.edu::acf837aa-a1d1-4317-9e51-ad99a85abb7b" providerId="AD" clId="Web-{0DED9284-E57C-4E94-8A28-9CE81D25F47B}" dt="2022-04-22T19:25:25.312" v="294"/>
          <ac:spMkLst>
            <pc:docMk/>
            <pc:sldMk cId="109857222" sldId="256"/>
            <ac:spMk id="80" creationId="{007891EC-4501-44ED-A8C8-B11B6DB767AB}"/>
          </ac:spMkLst>
        </pc:spChg>
        <pc:spChg chg="add del">
          <ac:chgData name="Mercer, Jahari" userId="S::jrm213@pitt.edu::acf837aa-a1d1-4317-9e51-ad99a85abb7b" providerId="AD" clId="Web-{0DED9284-E57C-4E94-8A28-9CE81D25F47B}" dt="2022-04-22T19:25:36.093" v="296"/>
          <ac:spMkLst>
            <pc:docMk/>
            <pc:sldMk cId="109857222" sldId="256"/>
            <ac:spMk id="82" creationId="{71B2258F-86CA-4D4D-8270-BC05FCDEBFB3}"/>
          </ac:spMkLst>
        </pc:spChg>
        <pc:spChg chg="add del">
          <ac:chgData name="Mercer, Jahari" userId="S::jrm213@pitt.edu::acf837aa-a1d1-4317-9e51-ad99a85abb7b" providerId="AD" clId="Web-{0DED9284-E57C-4E94-8A28-9CE81D25F47B}" dt="2022-04-22T19:25:57.937" v="301"/>
          <ac:spMkLst>
            <pc:docMk/>
            <pc:sldMk cId="109857222" sldId="256"/>
            <ac:spMk id="84" creationId="{C1DD1A8A-57D5-4A81-AD04-532B043C5611}"/>
          </ac:spMkLst>
        </pc:spChg>
        <pc:spChg chg="add del">
          <ac:chgData name="Mercer, Jahari" userId="S::jrm213@pitt.edu::acf837aa-a1d1-4317-9e51-ad99a85abb7b" providerId="AD" clId="Web-{0DED9284-E57C-4E94-8A28-9CE81D25F47B}" dt="2022-04-22T19:25:57.937" v="301"/>
          <ac:spMkLst>
            <pc:docMk/>
            <pc:sldMk cId="109857222" sldId="256"/>
            <ac:spMk id="85" creationId="{007891EC-4501-44ED-A8C8-B11B6DB767AB}"/>
          </ac:spMkLst>
        </pc:spChg>
        <pc:spChg chg="add">
          <ac:chgData name="Mercer, Jahari" userId="S::jrm213@pitt.edu::acf837aa-a1d1-4317-9e51-ad99a85abb7b" providerId="AD" clId="Web-{0DED9284-E57C-4E94-8A28-9CE81D25F47B}" dt="2022-04-22T19:25:57.937" v="301"/>
          <ac:spMkLst>
            <pc:docMk/>
            <pc:sldMk cId="109857222" sldId="256"/>
            <ac:spMk id="90" creationId="{C1DD1A8A-57D5-4A81-AD04-532B043C5611}"/>
          </ac:spMkLst>
        </pc:spChg>
        <pc:spChg chg="add">
          <ac:chgData name="Mercer, Jahari" userId="S::jrm213@pitt.edu::acf837aa-a1d1-4317-9e51-ad99a85abb7b" providerId="AD" clId="Web-{0DED9284-E57C-4E94-8A28-9CE81D25F47B}" dt="2022-04-22T19:25:57.937" v="301"/>
          <ac:spMkLst>
            <pc:docMk/>
            <pc:sldMk cId="109857222" sldId="256"/>
            <ac:spMk id="92" creationId="{007891EC-4501-44ED-A8C8-B11B6DB767AB}"/>
          </ac:spMkLst>
        </pc:spChg>
        <pc:picChg chg="del">
          <ac:chgData name="Mercer, Jahari" userId="S::jrm213@pitt.edu::acf837aa-a1d1-4317-9e51-ad99a85abb7b" providerId="AD" clId="Web-{0DED9284-E57C-4E94-8A28-9CE81D25F47B}" dt="2022-04-22T19:08:46.810" v="233"/>
          <ac:picMkLst>
            <pc:docMk/>
            <pc:sldMk cId="109857222" sldId="256"/>
            <ac:picMk id="4" creationId="{F4BD9821-C546-F9D1-6D36-C3B54F4F5049}"/>
          </ac:picMkLst>
        </pc:picChg>
        <pc:picChg chg="add del mod ord">
          <ac:chgData name="Mercer, Jahari" userId="S::jrm213@pitt.edu::acf837aa-a1d1-4317-9e51-ad99a85abb7b" providerId="AD" clId="Web-{0DED9284-E57C-4E94-8A28-9CE81D25F47B}" dt="2022-04-22T19:11:17.233" v="261"/>
          <ac:picMkLst>
            <pc:docMk/>
            <pc:sldMk cId="109857222" sldId="256"/>
            <ac:picMk id="6" creationId="{06D394E6-0D0B-DF23-E5B5-59842A11578A}"/>
          </ac:picMkLst>
        </pc:picChg>
        <pc:picChg chg="add del mod">
          <ac:chgData name="Mercer, Jahari" userId="S::jrm213@pitt.edu::acf837aa-a1d1-4317-9e51-ad99a85abb7b" providerId="AD" clId="Web-{0DED9284-E57C-4E94-8A28-9CE81D25F47B}" dt="2022-04-22T19:10:39.967" v="259"/>
          <ac:picMkLst>
            <pc:docMk/>
            <pc:sldMk cId="109857222" sldId="256"/>
            <ac:picMk id="9" creationId="{C3DA511E-9B5F-6620-5BAC-3F86BBCD5F8C}"/>
          </ac:picMkLst>
        </pc:picChg>
        <pc:picChg chg="add del mod ord">
          <ac:chgData name="Mercer, Jahari" userId="S::jrm213@pitt.edu::acf837aa-a1d1-4317-9e51-ad99a85abb7b" providerId="AD" clId="Web-{0DED9284-E57C-4E94-8A28-9CE81D25F47B}" dt="2022-04-22T19:17:45.686" v="280"/>
          <ac:picMkLst>
            <pc:docMk/>
            <pc:sldMk cId="109857222" sldId="256"/>
            <ac:picMk id="14" creationId="{598188E1-3E95-B6A8-E52F-7DAABBBA886B}"/>
          </ac:picMkLst>
        </pc:picChg>
        <pc:picChg chg="add del mod ord">
          <ac:chgData name="Mercer, Jahari" userId="S::jrm213@pitt.edu::acf837aa-a1d1-4317-9e51-ad99a85abb7b" providerId="AD" clId="Web-{0DED9284-E57C-4E94-8A28-9CE81D25F47B}" dt="2022-04-22T19:23:39.046" v="287"/>
          <ac:picMkLst>
            <pc:docMk/>
            <pc:sldMk cId="109857222" sldId="256"/>
            <ac:picMk id="15" creationId="{94E73B4A-D2A8-4347-4F02-E830CFC17D93}"/>
          </ac:picMkLst>
        </pc:picChg>
        <pc:picChg chg="add del mod">
          <ac:chgData name="Mercer, Jahari" userId="S::jrm213@pitt.edu::acf837aa-a1d1-4317-9e51-ad99a85abb7b" providerId="AD" clId="Web-{0DED9284-E57C-4E94-8A28-9CE81D25F47B}" dt="2022-04-22T19:21:22.061" v="283"/>
          <ac:picMkLst>
            <pc:docMk/>
            <pc:sldMk cId="109857222" sldId="256"/>
            <ac:picMk id="16" creationId="{C518E51F-3528-5B34-51C2-7A1C4D29521C}"/>
          </ac:picMkLst>
        </pc:picChg>
        <pc:picChg chg="add del mod">
          <ac:chgData name="Mercer, Jahari" userId="S::jrm213@pitt.edu::acf837aa-a1d1-4317-9e51-ad99a85abb7b" providerId="AD" clId="Web-{0DED9284-E57C-4E94-8A28-9CE81D25F47B}" dt="2022-04-22T19:23:31.937" v="286"/>
          <ac:picMkLst>
            <pc:docMk/>
            <pc:sldMk cId="109857222" sldId="256"/>
            <ac:picMk id="18" creationId="{6F004E21-EF21-D3AE-C107-564372F52E88}"/>
          </ac:picMkLst>
        </pc:picChg>
        <pc:picChg chg="add mod ord">
          <ac:chgData name="Mercer, Jahari" userId="S::jrm213@pitt.edu::acf837aa-a1d1-4317-9e51-ad99a85abb7b" providerId="AD" clId="Web-{0DED9284-E57C-4E94-8A28-9CE81D25F47B}" dt="2022-04-22T19:25:36.109" v="297"/>
          <ac:picMkLst>
            <pc:docMk/>
            <pc:sldMk cId="109857222" sldId="256"/>
            <ac:picMk id="20" creationId="{4DD44932-4AF6-4D88-5E2F-96396B96FDE1}"/>
          </ac:picMkLst>
        </pc:picChg>
        <pc:picChg chg="add del">
          <ac:chgData name="Mercer, Jahari" userId="S::jrm213@pitt.edu::acf837aa-a1d1-4317-9e51-ad99a85abb7b" providerId="AD" clId="Web-{0DED9284-E57C-4E94-8A28-9CE81D25F47B}" dt="2022-04-22T19:23:57.999" v="289"/>
          <ac:picMkLst>
            <pc:docMk/>
            <pc:sldMk cId="109857222" sldId="256"/>
            <ac:picMk id="66" creationId="{618CA674-DA0F-D609-2D62-2944E9AD7EE7}"/>
          </ac:picMkLst>
        </pc:picChg>
        <pc:picChg chg="add del">
          <ac:chgData name="Mercer, Jahari" userId="S::jrm213@pitt.edu::acf837aa-a1d1-4317-9e51-ad99a85abb7b" providerId="AD" clId="Web-{0DED9284-E57C-4E94-8A28-9CE81D25F47B}" dt="2022-04-22T19:25:13.687" v="292"/>
          <ac:picMkLst>
            <pc:docMk/>
            <pc:sldMk cId="109857222" sldId="256"/>
            <ac:picMk id="74" creationId="{618F78F8-16CE-EAA6-97C4-2B69CA3DADBE}"/>
          </ac:picMkLst>
        </pc:picChg>
        <pc:cxnChg chg="add del">
          <ac:chgData name="Mercer, Jahari" userId="S::jrm213@pitt.edu::acf837aa-a1d1-4317-9e51-ad99a85abb7b" providerId="AD" clId="Web-{0DED9284-E57C-4E94-8A28-9CE81D25F47B}" dt="2022-04-22T19:09:50.436" v="248"/>
          <ac:cxnSpMkLst>
            <pc:docMk/>
            <pc:sldMk cId="109857222" sldId="256"/>
            <ac:cxnSpMk id="12" creationId="{BCDAEC91-5BCE-4B55-9CC0-43EF94CB734B}"/>
          </ac:cxnSpMkLst>
        </pc:cxnChg>
        <pc:cxnChg chg="add del">
          <ac:chgData name="Mercer, Jahari" userId="S::jrm213@pitt.edu::acf837aa-a1d1-4317-9e51-ad99a85abb7b" providerId="AD" clId="Web-{0DED9284-E57C-4E94-8A28-9CE81D25F47B}" dt="2022-04-22T19:09:32.045" v="243"/>
          <ac:cxnSpMkLst>
            <pc:docMk/>
            <pc:sldMk cId="109857222" sldId="256"/>
            <ac:cxnSpMk id="38" creationId="{BCDAEC91-5BCE-4B55-9CC0-43EF94CB734B}"/>
          </ac:cxnSpMkLst>
        </pc:cxnChg>
        <pc:cxnChg chg="add del">
          <ac:chgData name="Mercer, Jahari" userId="S::jrm213@pitt.edu::acf837aa-a1d1-4317-9e51-ad99a85abb7b" providerId="AD" clId="Web-{0DED9284-E57C-4E94-8A28-9CE81D25F47B}" dt="2022-04-22T19:17:56.014" v="281"/>
          <ac:cxnSpMkLst>
            <pc:docMk/>
            <pc:sldMk cId="109857222" sldId="256"/>
            <ac:cxnSpMk id="57" creationId="{BCDAEC91-5BCE-4B55-9CC0-43EF94CB734B}"/>
          </ac:cxnSpMkLst>
        </pc:cxnChg>
      </pc:sldChg>
      <pc:sldChg chg="modSp">
        <pc:chgData name="Mercer, Jahari" userId="S::jrm213@pitt.edu::acf837aa-a1d1-4317-9e51-ad99a85abb7b" providerId="AD" clId="Web-{0DED9284-E57C-4E94-8A28-9CE81D25F47B}" dt="2022-04-22T18:35:43.636" v="13" actId="20577"/>
        <pc:sldMkLst>
          <pc:docMk/>
          <pc:sldMk cId="1603032356" sldId="257"/>
        </pc:sldMkLst>
        <pc:spChg chg="mod">
          <ac:chgData name="Mercer, Jahari" userId="S::jrm213@pitt.edu::acf837aa-a1d1-4317-9e51-ad99a85abb7b" providerId="AD" clId="Web-{0DED9284-E57C-4E94-8A28-9CE81D25F47B}" dt="2022-04-22T18:35:43.636" v="13" actId="20577"/>
          <ac:spMkLst>
            <pc:docMk/>
            <pc:sldMk cId="1603032356" sldId="257"/>
            <ac:spMk id="2" creationId="{794E4869-2558-A121-96F7-B8A3D01F3805}"/>
          </ac:spMkLst>
        </pc:spChg>
      </pc:sldChg>
      <pc:sldChg chg="modSp new del">
        <pc:chgData name="Mercer, Jahari" userId="S::jrm213@pitt.edu::acf837aa-a1d1-4317-9e51-ad99a85abb7b" providerId="AD" clId="Web-{0DED9284-E57C-4E94-8A28-9CE81D25F47B}" dt="2022-04-22T18:52:08.575" v="125"/>
        <pc:sldMkLst>
          <pc:docMk/>
          <pc:sldMk cId="791833626" sldId="258"/>
        </pc:sldMkLst>
        <pc:spChg chg="mod">
          <ac:chgData name="Mercer, Jahari" userId="S::jrm213@pitt.edu::acf837aa-a1d1-4317-9e51-ad99a85abb7b" providerId="AD" clId="Web-{0DED9284-E57C-4E94-8A28-9CE81D25F47B}" dt="2022-04-22T18:37:37.262" v="35" actId="20577"/>
          <ac:spMkLst>
            <pc:docMk/>
            <pc:sldMk cId="791833626" sldId="258"/>
            <ac:spMk id="2" creationId="{C5D5D5FC-6246-C28D-5F2A-E576640C5E2F}"/>
          </ac:spMkLst>
        </pc:spChg>
      </pc:sldChg>
      <pc:sldChg chg="modSp new del">
        <pc:chgData name="Mercer, Jahari" userId="S::jrm213@pitt.edu::acf837aa-a1d1-4317-9e51-ad99a85abb7b" providerId="AD" clId="Web-{0DED9284-E57C-4E94-8A28-9CE81D25F47B}" dt="2022-04-22T18:52:09.216" v="126"/>
        <pc:sldMkLst>
          <pc:docMk/>
          <pc:sldMk cId="262814532" sldId="259"/>
        </pc:sldMkLst>
        <pc:spChg chg="mod">
          <ac:chgData name="Mercer, Jahari" userId="S::jrm213@pitt.edu::acf837aa-a1d1-4317-9e51-ad99a85abb7b" providerId="AD" clId="Web-{0DED9284-E57C-4E94-8A28-9CE81D25F47B}" dt="2022-04-22T18:38:30.559" v="49" actId="20577"/>
          <ac:spMkLst>
            <pc:docMk/>
            <pc:sldMk cId="262814532" sldId="259"/>
            <ac:spMk id="2" creationId="{1A4B0823-A9A7-3289-52DF-8CCD17FFE87B}"/>
          </ac:spMkLst>
        </pc:spChg>
      </pc:sldChg>
      <pc:sldChg chg="modSp new del">
        <pc:chgData name="Mercer, Jahari" userId="S::jrm213@pitt.edu::acf837aa-a1d1-4317-9e51-ad99a85abb7b" providerId="AD" clId="Web-{0DED9284-E57C-4E94-8A28-9CE81D25F47B}" dt="2022-04-22T18:52:09.700" v="127"/>
        <pc:sldMkLst>
          <pc:docMk/>
          <pc:sldMk cId="3806056669" sldId="260"/>
        </pc:sldMkLst>
        <pc:spChg chg="mod">
          <ac:chgData name="Mercer, Jahari" userId="S::jrm213@pitt.edu::acf837aa-a1d1-4317-9e51-ad99a85abb7b" providerId="AD" clId="Web-{0DED9284-E57C-4E94-8A28-9CE81D25F47B}" dt="2022-04-22T18:38:42.184" v="74" actId="20577"/>
          <ac:spMkLst>
            <pc:docMk/>
            <pc:sldMk cId="3806056669" sldId="260"/>
            <ac:spMk id="2" creationId="{2E93B4E1-E01B-C71F-E493-9C2B594D0183}"/>
          </ac:spMkLst>
        </pc:spChg>
      </pc:sldChg>
      <pc:sldChg chg="modSp new del">
        <pc:chgData name="Mercer, Jahari" userId="S::jrm213@pitt.edu::acf837aa-a1d1-4317-9e51-ad99a85abb7b" providerId="AD" clId="Web-{0DED9284-E57C-4E94-8A28-9CE81D25F47B}" dt="2022-04-22T18:52:10.309" v="128"/>
        <pc:sldMkLst>
          <pc:docMk/>
          <pc:sldMk cId="2510123782" sldId="261"/>
        </pc:sldMkLst>
        <pc:spChg chg="mod">
          <ac:chgData name="Mercer, Jahari" userId="S::jrm213@pitt.edu::acf837aa-a1d1-4317-9e51-ad99a85abb7b" providerId="AD" clId="Web-{0DED9284-E57C-4E94-8A28-9CE81D25F47B}" dt="2022-04-22T18:48:42.778" v="92" actId="20577"/>
          <ac:spMkLst>
            <pc:docMk/>
            <pc:sldMk cId="2510123782" sldId="261"/>
            <ac:spMk id="2" creationId="{7E47E02D-3007-CB75-1CE8-D1AD55C43E6B}"/>
          </ac:spMkLst>
        </pc:spChg>
      </pc:sldChg>
      <pc:sldChg chg="modSp new del">
        <pc:chgData name="Mercer, Jahari" userId="S::jrm213@pitt.edu::acf837aa-a1d1-4317-9e51-ad99a85abb7b" providerId="AD" clId="Web-{0DED9284-E57C-4E94-8A28-9CE81D25F47B}" dt="2022-04-22T18:52:11.731" v="129"/>
        <pc:sldMkLst>
          <pc:docMk/>
          <pc:sldMk cId="937572346" sldId="262"/>
        </pc:sldMkLst>
        <pc:spChg chg="mod">
          <ac:chgData name="Mercer, Jahari" userId="S::jrm213@pitt.edu::acf837aa-a1d1-4317-9e51-ad99a85abb7b" providerId="AD" clId="Web-{0DED9284-E57C-4E94-8A28-9CE81D25F47B}" dt="2022-04-22T18:48:48.231" v="94" actId="20577"/>
          <ac:spMkLst>
            <pc:docMk/>
            <pc:sldMk cId="937572346" sldId="262"/>
            <ac:spMk id="2" creationId="{579B3D69-6115-CB8A-A037-6373EEE4581A}"/>
          </ac:spMkLst>
        </pc:spChg>
      </pc:sldChg>
      <pc:sldChg chg="modSp add replId">
        <pc:chgData name="Mercer, Jahari" userId="S::jrm213@pitt.edu::acf837aa-a1d1-4317-9e51-ad99a85abb7b" providerId="AD" clId="Web-{0DED9284-E57C-4E94-8A28-9CE81D25F47B}" dt="2022-04-22T18:49:40.497" v="101" actId="20577"/>
        <pc:sldMkLst>
          <pc:docMk/>
          <pc:sldMk cId="3222217810" sldId="263"/>
        </pc:sldMkLst>
        <pc:spChg chg="mod">
          <ac:chgData name="Mercer, Jahari" userId="S::jrm213@pitt.edu::acf837aa-a1d1-4317-9e51-ad99a85abb7b" providerId="AD" clId="Web-{0DED9284-E57C-4E94-8A28-9CE81D25F47B}" dt="2022-04-22T18:49:40.497" v="101" actId="20577"/>
          <ac:spMkLst>
            <pc:docMk/>
            <pc:sldMk cId="3222217810" sldId="263"/>
            <ac:spMk id="2" creationId="{794E4869-2558-A121-96F7-B8A3D01F3805}"/>
          </ac:spMkLst>
        </pc:spChg>
      </pc:sldChg>
      <pc:sldChg chg="modSp add replId">
        <pc:chgData name="Mercer, Jahari" userId="S::jrm213@pitt.edu::acf837aa-a1d1-4317-9e51-ad99a85abb7b" providerId="AD" clId="Web-{0DED9284-E57C-4E94-8A28-9CE81D25F47B}" dt="2022-04-22T18:49:55.434" v="113" actId="20577"/>
        <pc:sldMkLst>
          <pc:docMk/>
          <pc:sldMk cId="3753568668" sldId="264"/>
        </pc:sldMkLst>
        <pc:spChg chg="mod">
          <ac:chgData name="Mercer, Jahari" userId="S::jrm213@pitt.edu::acf837aa-a1d1-4317-9e51-ad99a85abb7b" providerId="AD" clId="Web-{0DED9284-E57C-4E94-8A28-9CE81D25F47B}" dt="2022-04-22T18:49:55.434" v="113" actId="20577"/>
          <ac:spMkLst>
            <pc:docMk/>
            <pc:sldMk cId="3753568668" sldId="264"/>
            <ac:spMk id="2" creationId="{794E4869-2558-A121-96F7-B8A3D01F3805}"/>
          </ac:spMkLst>
        </pc:spChg>
      </pc:sldChg>
      <pc:sldChg chg="modSp add replId">
        <pc:chgData name="Mercer, Jahari" userId="S::jrm213@pitt.edu::acf837aa-a1d1-4317-9e51-ad99a85abb7b" providerId="AD" clId="Web-{0DED9284-E57C-4E94-8A28-9CE81D25F47B}" dt="2022-04-22T18:50:13.950" v="115" actId="20577"/>
        <pc:sldMkLst>
          <pc:docMk/>
          <pc:sldMk cId="1108011013" sldId="265"/>
        </pc:sldMkLst>
        <pc:spChg chg="mod">
          <ac:chgData name="Mercer, Jahari" userId="S::jrm213@pitt.edu::acf837aa-a1d1-4317-9e51-ad99a85abb7b" providerId="AD" clId="Web-{0DED9284-E57C-4E94-8A28-9CE81D25F47B}" dt="2022-04-22T18:50:13.950" v="115" actId="20577"/>
          <ac:spMkLst>
            <pc:docMk/>
            <pc:sldMk cId="1108011013" sldId="265"/>
            <ac:spMk id="2" creationId="{794E4869-2558-A121-96F7-B8A3D01F3805}"/>
          </ac:spMkLst>
        </pc:spChg>
      </pc:sldChg>
      <pc:sldChg chg="modSp add replId">
        <pc:chgData name="Mercer, Jahari" userId="S::jrm213@pitt.edu::acf837aa-a1d1-4317-9e51-ad99a85abb7b" providerId="AD" clId="Web-{0DED9284-E57C-4E94-8A28-9CE81D25F47B}" dt="2022-04-22T18:50:28.809" v="117" actId="20577"/>
        <pc:sldMkLst>
          <pc:docMk/>
          <pc:sldMk cId="2630053335" sldId="266"/>
        </pc:sldMkLst>
        <pc:spChg chg="mod">
          <ac:chgData name="Mercer, Jahari" userId="S::jrm213@pitt.edu::acf837aa-a1d1-4317-9e51-ad99a85abb7b" providerId="AD" clId="Web-{0DED9284-E57C-4E94-8A28-9CE81D25F47B}" dt="2022-04-22T18:50:28.809" v="117" actId="20577"/>
          <ac:spMkLst>
            <pc:docMk/>
            <pc:sldMk cId="2630053335" sldId="266"/>
            <ac:spMk id="2" creationId="{794E4869-2558-A121-96F7-B8A3D01F3805}"/>
          </ac:spMkLst>
        </pc:spChg>
      </pc:sldChg>
      <pc:sldChg chg="modSp add replId">
        <pc:chgData name="Mercer, Jahari" userId="S::jrm213@pitt.edu::acf837aa-a1d1-4317-9e51-ad99a85abb7b" providerId="AD" clId="Web-{0DED9284-E57C-4E94-8A28-9CE81D25F47B}" dt="2022-04-22T18:51:53.731" v="120" actId="20577"/>
        <pc:sldMkLst>
          <pc:docMk/>
          <pc:sldMk cId="4016473112" sldId="267"/>
        </pc:sldMkLst>
        <pc:spChg chg="mod">
          <ac:chgData name="Mercer, Jahari" userId="S::jrm213@pitt.edu::acf837aa-a1d1-4317-9e51-ad99a85abb7b" providerId="AD" clId="Web-{0DED9284-E57C-4E94-8A28-9CE81D25F47B}" dt="2022-04-22T18:51:53.731" v="120" actId="20577"/>
          <ac:spMkLst>
            <pc:docMk/>
            <pc:sldMk cId="4016473112" sldId="267"/>
            <ac:spMk id="2" creationId="{794E4869-2558-A121-96F7-B8A3D01F3805}"/>
          </ac:spMkLst>
        </pc:spChg>
      </pc:sldChg>
      <pc:sldChg chg="modSp add replId">
        <pc:chgData name="Mercer, Jahari" userId="S::jrm213@pitt.edu::acf837aa-a1d1-4317-9e51-ad99a85abb7b" providerId="AD" clId="Web-{0DED9284-E57C-4E94-8A28-9CE81D25F47B}" dt="2022-04-22T18:52:01.466" v="123" actId="20577"/>
        <pc:sldMkLst>
          <pc:docMk/>
          <pc:sldMk cId="4150646416" sldId="268"/>
        </pc:sldMkLst>
        <pc:spChg chg="mod">
          <ac:chgData name="Mercer, Jahari" userId="S::jrm213@pitt.edu::acf837aa-a1d1-4317-9e51-ad99a85abb7b" providerId="AD" clId="Web-{0DED9284-E57C-4E94-8A28-9CE81D25F47B}" dt="2022-04-22T18:52:01.466" v="123" actId="20577"/>
          <ac:spMkLst>
            <pc:docMk/>
            <pc:sldMk cId="4150646416" sldId="268"/>
            <ac:spMk id="2" creationId="{794E4869-2558-A121-96F7-B8A3D01F3805}"/>
          </ac:spMkLst>
        </pc:spChg>
      </pc:sldChg>
      <pc:sldChg chg="modSp add replId">
        <pc:chgData name="Mercer, Jahari" userId="S::jrm213@pitt.edu::acf837aa-a1d1-4317-9e51-ad99a85abb7b" providerId="AD" clId="Web-{0DED9284-E57C-4E94-8A28-9CE81D25F47B}" dt="2022-04-22T18:52:05.309" v="124" actId="20577"/>
        <pc:sldMkLst>
          <pc:docMk/>
          <pc:sldMk cId="523473031" sldId="269"/>
        </pc:sldMkLst>
        <pc:spChg chg="mod">
          <ac:chgData name="Mercer, Jahari" userId="S::jrm213@pitt.edu::acf837aa-a1d1-4317-9e51-ad99a85abb7b" providerId="AD" clId="Web-{0DED9284-E57C-4E94-8A28-9CE81D25F47B}" dt="2022-04-22T18:52:05.309" v="124" actId="20577"/>
          <ac:spMkLst>
            <pc:docMk/>
            <pc:sldMk cId="523473031" sldId="269"/>
            <ac:spMk id="2" creationId="{794E4869-2558-A121-96F7-B8A3D01F3805}"/>
          </ac:spMkLst>
        </pc:spChg>
      </pc:sldChg>
      <pc:sldChg chg="add replId">
        <pc:chgData name="Mercer, Jahari" userId="S::jrm213@pitt.edu::acf837aa-a1d1-4317-9e51-ad99a85abb7b" providerId="AD" clId="Web-{0DED9284-E57C-4E94-8A28-9CE81D25F47B}" dt="2022-04-22T18:52:15.216" v="130"/>
        <pc:sldMkLst>
          <pc:docMk/>
          <pc:sldMk cId="4109852053" sldId="270"/>
        </pc:sldMkLst>
      </pc:sldChg>
      <pc:sldChg chg="add replId">
        <pc:chgData name="Mercer, Jahari" userId="S::jrm213@pitt.edu::acf837aa-a1d1-4317-9e51-ad99a85abb7b" providerId="AD" clId="Web-{0DED9284-E57C-4E94-8A28-9CE81D25F47B}" dt="2022-04-22T18:52:19.247" v="131"/>
        <pc:sldMkLst>
          <pc:docMk/>
          <pc:sldMk cId="988903583" sldId="271"/>
        </pc:sldMkLst>
      </pc:sldChg>
    </pc:docChg>
  </pc:docChgLst>
  <pc:docChgLst>
    <pc:chgData name="Mercer, Jahari" userId="S::jrm213@pitt.edu::acf837aa-a1d1-4317-9e51-ad99a85abb7b" providerId="AD" clId="Web-{76C41F33-5EC1-4CD6-ADB7-944FE6B0950B}"/>
    <pc:docChg chg="addSld modSld">
      <pc:chgData name="Mercer, Jahari" userId="S::jrm213@pitt.edu::acf837aa-a1d1-4317-9e51-ad99a85abb7b" providerId="AD" clId="Web-{76C41F33-5EC1-4CD6-ADB7-944FE6B0950B}" dt="2022-04-22T17:37:10.942" v="6"/>
      <pc:docMkLst>
        <pc:docMk/>
      </pc:docMkLst>
      <pc:sldChg chg="addSp modSp mod setBg">
        <pc:chgData name="Mercer, Jahari" userId="S::jrm213@pitt.edu::acf837aa-a1d1-4317-9e51-ad99a85abb7b" providerId="AD" clId="Web-{76C41F33-5EC1-4CD6-ADB7-944FE6B0950B}" dt="2022-04-22T17:36:47.942" v="4"/>
        <pc:sldMkLst>
          <pc:docMk/>
          <pc:sldMk cId="109857222" sldId="256"/>
        </pc:sldMkLst>
        <pc:spChg chg="mod">
          <ac:chgData name="Mercer, Jahari" userId="S::jrm213@pitt.edu::acf837aa-a1d1-4317-9e51-ad99a85abb7b" providerId="AD" clId="Web-{76C41F33-5EC1-4CD6-ADB7-944FE6B0950B}" dt="2022-04-22T17:36:47.942" v="4"/>
          <ac:spMkLst>
            <pc:docMk/>
            <pc:sldMk cId="109857222" sldId="256"/>
            <ac:spMk id="2" creationId="{00000000-0000-0000-0000-000000000000}"/>
          </ac:spMkLst>
        </pc:spChg>
        <pc:spChg chg="mod">
          <ac:chgData name="Mercer, Jahari" userId="S::jrm213@pitt.edu::acf837aa-a1d1-4317-9e51-ad99a85abb7b" providerId="AD" clId="Web-{76C41F33-5EC1-4CD6-ADB7-944FE6B0950B}" dt="2022-04-22T17:36:47.942" v="4"/>
          <ac:spMkLst>
            <pc:docMk/>
            <pc:sldMk cId="109857222" sldId="256"/>
            <ac:spMk id="3" creationId="{00000000-0000-0000-0000-000000000000}"/>
          </ac:spMkLst>
        </pc:spChg>
        <pc:spChg chg="add mod">
          <ac:chgData name="Mercer, Jahari" userId="S::jrm213@pitt.edu::acf837aa-a1d1-4317-9e51-ad99a85abb7b" providerId="AD" clId="Web-{76C41F33-5EC1-4CD6-ADB7-944FE6B0950B}" dt="2022-04-22T17:36:47.942" v="4"/>
          <ac:spMkLst>
            <pc:docMk/>
            <pc:sldMk cId="109857222" sldId="256"/>
            <ac:spMk id="5" creationId="{D070476E-0389-1171-FA45-9C4042A7F135}"/>
          </ac:spMkLst>
        </pc:spChg>
        <pc:spChg chg="add">
          <ac:chgData name="Mercer, Jahari" userId="S::jrm213@pitt.edu::acf837aa-a1d1-4317-9e51-ad99a85abb7b" providerId="AD" clId="Web-{76C41F33-5EC1-4CD6-ADB7-944FE6B0950B}" dt="2022-04-22T17:36:47.942" v="4"/>
          <ac:spMkLst>
            <pc:docMk/>
            <pc:sldMk cId="109857222" sldId="256"/>
            <ac:spMk id="10" creationId="{87CC2527-562A-4F69-B487-4371E5B243E7}"/>
          </ac:spMkLst>
        </pc:spChg>
        <pc:picChg chg="add mod ord">
          <ac:chgData name="Mercer, Jahari" userId="S::jrm213@pitt.edu::acf837aa-a1d1-4317-9e51-ad99a85abb7b" providerId="AD" clId="Web-{76C41F33-5EC1-4CD6-ADB7-944FE6B0950B}" dt="2022-04-22T17:36:47.942" v="4"/>
          <ac:picMkLst>
            <pc:docMk/>
            <pc:sldMk cId="109857222" sldId="256"/>
            <ac:picMk id="4" creationId="{F4BD9821-C546-F9D1-6D36-C3B54F4F5049}"/>
          </ac:picMkLst>
        </pc:picChg>
        <pc:cxnChg chg="add">
          <ac:chgData name="Mercer, Jahari" userId="S::jrm213@pitt.edu::acf837aa-a1d1-4317-9e51-ad99a85abb7b" providerId="AD" clId="Web-{76C41F33-5EC1-4CD6-ADB7-944FE6B0950B}" dt="2022-04-22T17:36:47.942" v="4"/>
          <ac:cxnSpMkLst>
            <pc:docMk/>
            <pc:sldMk cId="109857222" sldId="256"/>
            <ac:cxnSpMk id="12" creationId="{BCDAEC91-5BCE-4B55-9CC0-43EF94CB734B}"/>
          </ac:cxnSpMkLst>
        </pc:cxnChg>
      </pc:sldChg>
      <pc:sldChg chg="addSp modSp new mod setBg">
        <pc:chgData name="Mercer, Jahari" userId="S::jrm213@pitt.edu::acf837aa-a1d1-4317-9e51-ad99a85abb7b" providerId="AD" clId="Web-{76C41F33-5EC1-4CD6-ADB7-944FE6B0950B}" dt="2022-04-22T17:37:10.942" v="6"/>
        <pc:sldMkLst>
          <pc:docMk/>
          <pc:sldMk cId="1603032356" sldId="257"/>
        </pc:sldMkLst>
        <pc:spChg chg="mod">
          <ac:chgData name="Mercer, Jahari" userId="S::jrm213@pitt.edu::acf837aa-a1d1-4317-9e51-ad99a85abb7b" providerId="AD" clId="Web-{76C41F33-5EC1-4CD6-ADB7-944FE6B0950B}" dt="2022-04-22T17:37:10.942" v="6"/>
          <ac:spMkLst>
            <pc:docMk/>
            <pc:sldMk cId="1603032356" sldId="257"/>
            <ac:spMk id="2" creationId="{794E4869-2558-A121-96F7-B8A3D01F3805}"/>
          </ac:spMkLst>
        </pc:spChg>
        <pc:spChg chg="mod">
          <ac:chgData name="Mercer, Jahari" userId="S::jrm213@pitt.edu::acf837aa-a1d1-4317-9e51-ad99a85abb7b" providerId="AD" clId="Web-{76C41F33-5EC1-4CD6-ADB7-944FE6B0950B}" dt="2022-04-22T17:37:10.942" v="6"/>
          <ac:spMkLst>
            <pc:docMk/>
            <pc:sldMk cId="1603032356" sldId="257"/>
            <ac:spMk id="3" creationId="{746138E6-2A0E-2FC3-B970-4CBD29FDD2E3}"/>
          </ac:spMkLst>
        </pc:spChg>
        <pc:spChg chg="add">
          <ac:chgData name="Mercer, Jahari" userId="S::jrm213@pitt.edu::acf837aa-a1d1-4317-9e51-ad99a85abb7b" providerId="AD" clId="Web-{76C41F33-5EC1-4CD6-ADB7-944FE6B0950B}" dt="2022-04-22T17:37:10.942" v="6"/>
          <ac:spMkLst>
            <pc:docMk/>
            <pc:sldMk cId="1603032356" sldId="257"/>
            <ac:spMk id="8" creationId="{2B566528-1B12-4246-9431-5C2D7D081168}"/>
          </ac:spMkLst>
        </pc:spChg>
        <pc:spChg chg="add">
          <ac:chgData name="Mercer, Jahari" userId="S::jrm213@pitt.edu::acf837aa-a1d1-4317-9e51-ad99a85abb7b" providerId="AD" clId="Web-{76C41F33-5EC1-4CD6-ADB7-944FE6B0950B}" dt="2022-04-22T17:37:10.942" v="6"/>
          <ac:spMkLst>
            <pc:docMk/>
            <pc:sldMk cId="1603032356" sldId="257"/>
            <ac:spMk id="10" creationId="{2E80C965-DB6D-4F81-9E9E-B027384D0BD6}"/>
          </ac:spMkLst>
        </pc:spChg>
        <pc:spChg chg="add">
          <ac:chgData name="Mercer, Jahari" userId="S::jrm213@pitt.edu::acf837aa-a1d1-4317-9e51-ad99a85abb7b" providerId="AD" clId="Web-{76C41F33-5EC1-4CD6-ADB7-944FE6B0950B}" dt="2022-04-22T17:37:10.942" v="6"/>
          <ac:spMkLst>
            <pc:docMk/>
            <pc:sldMk cId="1603032356" sldId="257"/>
            <ac:spMk id="12" creationId="{A580F890-B085-4E95-96AA-55AEBEC5CE6E}"/>
          </ac:spMkLst>
        </pc:spChg>
        <pc:spChg chg="add">
          <ac:chgData name="Mercer, Jahari" userId="S::jrm213@pitt.edu::acf837aa-a1d1-4317-9e51-ad99a85abb7b" providerId="AD" clId="Web-{76C41F33-5EC1-4CD6-ADB7-944FE6B0950B}" dt="2022-04-22T17:37:10.942" v="6"/>
          <ac:spMkLst>
            <pc:docMk/>
            <pc:sldMk cId="1603032356" sldId="257"/>
            <ac:spMk id="14" creationId="{D3F51FEB-38FB-4F6C-9F7B-2F2AFAB65463}"/>
          </ac:spMkLst>
        </pc:spChg>
        <pc:spChg chg="add">
          <ac:chgData name="Mercer, Jahari" userId="S::jrm213@pitt.edu::acf837aa-a1d1-4317-9e51-ad99a85abb7b" providerId="AD" clId="Web-{76C41F33-5EC1-4CD6-ADB7-944FE6B0950B}" dt="2022-04-22T17:37:10.942" v="6"/>
          <ac:spMkLst>
            <pc:docMk/>
            <pc:sldMk cId="1603032356" sldId="257"/>
            <ac:spMk id="16" creationId="{1E547BA6-BAE0-43BB-A7CA-60F69CE252F0}"/>
          </ac:spMkLst>
        </pc:spChg>
      </pc:sldChg>
    </pc:docChg>
  </pc:docChgLst>
</pc:chgInfo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75E4AE-BD4F-4271-B4B9-2283FFC2AFD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CF5E3D4-7AAC-414A-9D61-A889F4C80C97}">
      <dgm:prSet phldrT="[Text]"/>
      <dgm:spPr/>
      <dgm:t>
        <a:bodyPr/>
        <a:lstStyle/>
        <a:p>
          <a:r>
            <a:rPr lang="en-US" dirty="0"/>
            <a:t>Background Info &amp; Process Description</a:t>
          </a:r>
        </a:p>
      </dgm:t>
    </dgm:pt>
    <dgm:pt modelId="{3564DE71-2947-424F-8F7A-55D3ACFDB7C2}" type="parTrans" cxnId="{9E1593B0-2FB8-4464-BE49-4618968525D2}">
      <dgm:prSet/>
      <dgm:spPr/>
      <dgm:t>
        <a:bodyPr/>
        <a:lstStyle/>
        <a:p>
          <a:endParaRPr lang="en-US"/>
        </a:p>
      </dgm:t>
    </dgm:pt>
    <dgm:pt modelId="{A441AB3E-BE63-467C-9DD5-DAB531C99CF2}" type="sibTrans" cxnId="{9E1593B0-2FB8-4464-BE49-4618968525D2}">
      <dgm:prSet/>
      <dgm:spPr/>
      <dgm:t>
        <a:bodyPr/>
        <a:lstStyle/>
        <a:p>
          <a:endParaRPr lang="en-US"/>
        </a:p>
      </dgm:t>
    </dgm:pt>
    <dgm:pt modelId="{2FF50E8D-5E0B-4996-8906-0B2CA001AC98}">
      <dgm:prSet phldrT="[Text]"/>
      <dgm:spPr/>
      <dgm:t>
        <a:bodyPr/>
        <a:lstStyle/>
        <a:p>
          <a:r>
            <a:rPr lang="en-US" dirty="0"/>
            <a:t>Strategic Criteria</a:t>
          </a:r>
        </a:p>
      </dgm:t>
    </dgm:pt>
    <dgm:pt modelId="{B6B1472B-A63F-4A08-B0DE-9828DA2D0E5B}" type="parTrans" cxnId="{13F10C33-09B2-447D-B2E5-43D7E73E0F07}">
      <dgm:prSet/>
      <dgm:spPr/>
      <dgm:t>
        <a:bodyPr/>
        <a:lstStyle/>
        <a:p>
          <a:endParaRPr lang="en-US"/>
        </a:p>
      </dgm:t>
    </dgm:pt>
    <dgm:pt modelId="{1A867530-C11C-40AA-9001-74D078BDD4AF}" type="sibTrans" cxnId="{13F10C33-09B2-447D-B2E5-43D7E73E0F07}">
      <dgm:prSet/>
      <dgm:spPr/>
      <dgm:t>
        <a:bodyPr/>
        <a:lstStyle/>
        <a:p>
          <a:endParaRPr lang="en-US"/>
        </a:p>
      </dgm:t>
    </dgm:pt>
    <dgm:pt modelId="{25FBBF35-F65B-4C88-826B-D3FAC6CA1A4A}">
      <dgm:prSet phldrT="[Text]"/>
      <dgm:spPr/>
      <dgm:t>
        <a:bodyPr/>
        <a:lstStyle/>
        <a:p>
          <a:r>
            <a:rPr lang="en-US" dirty="0"/>
            <a:t>Alternatives &amp; Assumptions</a:t>
          </a:r>
        </a:p>
      </dgm:t>
    </dgm:pt>
    <dgm:pt modelId="{0CE99CC4-89FF-43F0-B3ED-F91722634049}" type="parTrans" cxnId="{4730D351-416F-44C9-9043-00F9E7FC92D5}">
      <dgm:prSet/>
      <dgm:spPr/>
      <dgm:t>
        <a:bodyPr/>
        <a:lstStyle/>
        <a:p>
          <a:endParaRPr lang="en-US"/>
        </a:p>
      </dgm:t>
    </dgm:pt>
    <dgm:pt modelId="{99C3232D-9A84-4435-8C4A-AAADE56A27E9}" type="sibTrans" cxnId="{4730D351-416F-44C9-9043-00F9E7FC92D5}">
      <dgm:prSet/>
      <dgm:spPr/>
      <dgm:t>
        <a:bodyPr/>
        <a:lstStyle/>
        <a:p>
          <a:endParaRPr lang="en-US"/>
        </a:p>
      </dgm:t>
    </dgm:pt>
    <dgm:pt modelId="{C29FF85B-9F7D-4627-9ED3-A3A2F66480F3}">
      <dgm:prSet phldrT="[Text]"/>
      <dgm:spPr/>
      <dgm:t>
        <a:bodyPr/>
        <a:lstStyle/>
        <a:p>
          <a:r>
            <a:rPr lang="en-US" dirty="0"/>
            <a:t>Control Criteria &amp; Bottom Level Factors</a:t>
          </a:r>
        </a:p>
      </dgm:t>
    </dgm:pt>
    <dgm:pt modelId="{BDB725EC-F492-4143-AD53-878595EB06CC}" type="parTrans" cxnId="{26204E2E-A32A-4EF4-9281-C993508B5132}">
      <dgm:prSet/>
      <dgm:spPr/>
      <dgm:t>
        <a:bodyPr/>
        <a:lstStyle/>
        <a:p>
          <a:endParaRPr lang="en-US"/>
        </a:p>
      </dgm:t>
    </dgm:pt>
    <dgm:pt modelId="{FAB2ED45-829A-42CA-A069-938B832CB058}" type="sibTrans" cxnId="{26204E2E-A32A-4EF4-9281-C993508B5132}">
      <dgm:prSet/>
      <dgm:spPr/>
      <dgm:t>
        <a:bodyPr/>
        <a:lstStyle/>
        <a:p>
          <a:endParaRPr lang="en-US"/>
        </a:p>
      </dgm:t>
    </dgm:pt>
    <dgm:pt modelId="{7174EE34-073B-40CD-948E-6CD97B2CA230}">
      <dgm:prSet phldrT="[Text]"/>
      <dgm:spPr/>
      <dgm:t>
        <a:bodyPr/>
        <a:lstStyle/>
        <a:p>
          <a:r>
            <a:rPr lang="en-US" dirty="0"/>
            <a:t>Results &amp; Sensitivity Analysis</a:t>
          </a:r>
        </a:p>
      </dgm:t>
    </dgm:pt>
    <dgm:pt modelId="{6EA6D671-EE81-4478-98DE-1A2861655A0C}" type="parTrans" cxnId="{D4B45BA8-C250-4E66-B6FD-6BCCE91537B8}">
      <dgm:prSet/>
      <dgm:spPr/>
      <dgm:t>
        <a:bodyPr/>
        <a:lstStyle/>
        <a:p>
          <a:endParaRPr lang="en-US"/>
        </a:p>
      </dgm:t>
    </dgm:pt>
    <dgm:pt modelId="{8CE7BF16-6875-4EDB-89A1-BC94CC13DEA3}" type="sibTrans" cxnId="{D4B45BA8-C250-4E66-B6FD-6BCCE91537B8}">
      <dgm:prSet/>
      <dgm:spPr/>
      <dgm:t>
        <a:bodyPr/>
        <a:lstStyle/>
        <a:p>
          <a:endParaRPr lang="en-US"/>
        </a:p>
      </dgm:t>
    </dgm:pt>
    <dgm:pt modelId="{A31F0797-E706-4915-8837-0329E2759B1B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E126D327-2785-45F9-97AA-07AD8AE2E753}" type="parTrans" cxnId="{C2AF01D7-C673-4CF8-8CF9-7C1B5B839DBE}">
      <dgm:prSet/>
      <dgm:spPr/>
      <dgm:t>
        <a:bodyPr/>
        <a:lstStyle/>
        <a:p>
          <a:endParaRPr lang="en-US"/>
        </a:p>
      </dgm:t>
    </dgm:pt>
    <dgm:pt modelId="{9F6AC7C6-B587-4388-83C2-3DD15AD5667A}" type="sibTrans" cxnId="{C2AF01D7-C673-4CF8-8CF9-7C1B5B839DBE}">
      <dgm:prSet/>
      <dgm:spPr/>
      <dgm:t>
        <a:bodyPr/>
        <a:lstStyle/>
        <a:p>
          <a:endParaRPr lang="en-US"/>
        </a:p>
      </dgm:t>
    </dgm:pt>
    <dgm:pt modelId="{3915A768-2D8C-49C4-A09A-C95F0503602D}" type="pres">
      <dgm:prSet presAssocID="{0A75E4AE-BD4F-4271-B4B9-2283FFC2AFD7}" presName="linear" presStyleCnt="0">
        <dgm:presLayoutVars>
          <dgm:animLvl val="lvl"/>
          <dgm:resizeHandles val="exact"/>
        </dgm:presLayoutVars>
      </dgm:prSet>
      <dgm:spPr/>
    </dgm:pt>
    <dgm:pt modelId="{AE8C1957-FB09-4B77-8163-DC247D6E9115}" type="pres">
      <dgm:prSet presAssocID="{BCF5E3D4-7AAC-414A-9D61-A889F4C80C97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AC678896-6355-40FC-A883-8DA36133E3C9}" type="pres">
      <dgm:prSet presAssocID="{A441AB3E-BE63-467C-9DD5-DAB531C99CF2}" presName="spacer" presStyleCnt="0"/>
      <dgm:spPr/>
    </dgm:pt>
    <dgm:pt modelId="{D19E6EAB-A7FC-42D9-B6DE-B48A296EA554}" type="pres">
      <dgm:prSet presAssocID="{2FF50E8D-5E0B-4996-8906-0B2CA001AC98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1F800B1E-5117-4265-A56B-B116E99F631F}" type="pres">
      <dgm:prSet presAssocID="{1A867530-C11C-40AA-9001-74D078BDD4AF}" presName="spacer" presStyleCnt="0"/>
      <dgm:spPr/>
    </dgm:pt>
    <dgm:pt modelId="{5C8ADD88-BE0B-4D2A-A15B-5A7015316D79}" type="pres">
      <dgm:prSet presAssocID="{25FBBF35-F65B-4C88-826B-D3FAC6CA1A4A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8F7B1A92-6AFE-4BB5-A821-2D925CA35A4A}" type="pres">
      <dgm:prSet presAssocID="{99C3232D-9A84-4435-8C4A-AAADE56A27E9}" presName="spacer" presStyleCnt="0"/>
      <dgm:spPr/>
    </dgm:pt>
    <dgm:pt modelId="{22F9A931-B54F-4749-95EA-589AE90287FA}" type="pres">
      <dgm:prSet presAssocID="{C29FF85B-9F7D-4627-9ED3-A3A2F66480F3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FEC858A0-4DF9-4958-A421-58AD19441A47}" type="pres">
      <dgm:prSet presAssocID="{FAB2ED45-829A-42CA-A069-938B832CB058}" presName="spacer" presStyleCnt="0"/>
      <dgm:spPr/>
    </dgm:pt>
    <dgm:pt modelId="{804C9ED4-7225-4637-85F3-871651806B6E}" type="pres">
      <dgm:prSet presAssocID="{7174EE34-073B-40CD-948E-6CD97B2CA230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0CC7B1C9-7496-4F1D-A3C7-EB824219B33A}" type="pres">
      <dgm:prSet presAssocID="{8CE7BF16-6875-4EDB-89A1-BC94CC13DEA3}" presName="spacer" presStyleCnt="0"/>
      <dgm:spPr/>
    </dgm:pt>
    <dgm:pt modelId="{1B416C15-4805-4A75-A7AD-8ABB46CFA792}" type="pres">
      <dgm:prSet presAssocID="{A31F0797-E706-4915-8837-0329E2759B1B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AD5D2E1E-A502-41EB-ABD4-81CD80FE1E06}" type="presOf" srcId="{0A75E4AE-BD4F-4271-B4B9-2283FFC2AFD7}" destId="{3915A768-2D8C-49C4-A09A-C95F0503602D}" srcOrd="0" destOrd="0" presId="urn:microsoft.com/office/officeart/2005/8/layout/vList2"/>
    <dgm:cxn modelId="{F867292D-6F32-485B-931C-5685765978F0}" type="presOf" srcId="{A31F0797-E706-4915-8837-0329E2759B1B}" destId="{1B416C15-4805-4A75-A7AD-8ABB46CFA792}" srcOrd="0" destOrd="0" presId="urn:microsoft.com/office/officeart/2005/8/layout/vList2"/>
    <dgm:cxn modelId="{26204E2E-A32A-4EF4-9281-C993508B5132}" srcId="{0A75E4AE-BD4F-4271-B4B9-2283FFC2AFD7}" destId="{C29FF85B-9F7D-4627-9ED3-A3A2F66480F3}" srcOrd="3" destOrd="0" parTransId="{BDB725EC-F492-4143-AD53-878595EB06CC}" sibTransId="{FAB2ED45-829A-42CA-A069-938B832CB058}"/>
    <dgm:cxn modelId="{13F10C33-09B2-447D-B2E5-43D7E73E0F07}" srcId="{0A75E4AE-BD4F-4271-B4B9-2283FFC2AFD7}" destId="{2FF50E8D-5E0B-4996-8906-0B2CA001AC98}" srcOrd="1" destOrd="0" parTransId="{B6B1472B-A63F-4A08-B0DE-9828DA2D0E5B}" sibTransId="{1A867530-C11C-40AA-9001-74D078BDD4AF}"/>
    <dgm:cxn modelId="{4730D351-416F-44C9-9043-00F9E7FC92D5}" srcId="{0A75E4AE-BD4F-4271-B4B9-2283FFC2AFD7}" destId="{25FBBF35-F65B-4C88-826B-D3FAC6CA1A4A}" srcOrd="2" destOrd="0" parTransId="{0CE99CC4-89FF-43F0-B3ED-F91722634049}" sibTransId="{99C3232D-9A84-4435-8C4A-AAADE56A27E9}"/>
    <dgm:cxn modelId="{5DEBE254-A774-454E-8432-B849098997D9}" type="presOf" srcId="{C29FF85B-9F7D-4627-9ED3-A3A2F66480F3}" destId="{22F9A931-B54F-4749-95EA-589AE90287FA}" srcOrd="0" destOrd="0" presId="urn:microsoft.com/office/officeart/2005/8/layout/vList2"/>
    <dgm:cxn modelId="{8958A698-D8FF-4D47-8959-5EF89BD6BE91}" type="presOf" srcId="{7174EE34-073B-40CD-948E-6CD97B2CA230}" destId="{804C9ED4-7225-4637-85F3-871651806B6E}" srcOrd="0" destOrd="0" presId="urn:microsoft.com/office/officeart/2005/8/layout/vList2"/>
    <dgm:cxn modelId="{D4B45BA8-C250-4E66-B6FD-6BCCE91537B8}" srcId="{0A75E4AE-BD4F-4271-B4B9-2283FFC2AFD7}" destId="{7174EE34-073B-40CD-948E-6CD97B2CA230}" srcOrd="4" destOrd="0" parTransId="{6EA6D671-EE81-4478-98DE-1A2861655A0C}" sibTransId="{8CE7BF16-6875-4EDB-89A1-BC94CC13DEA3}"/>
    <dgm:cxn modelId="{9E1593B0-2FB8-4464-BE49-4618968525D2}" srcId="{0A75E4AE-BD4F-4271-B4B9-2283FFC2AFD7}" destId="{BCF5E3D4-7AAC-414A-9D61-A889F4C80C97}" srcOrd="0" destOrd="0" parTransId="{3564DE71-2947-424F-8F7A-55D3ACFDB7C2}" sibTransId="{A441AB3E-BE63-467C-9DD5-DAB531C99CF2}"/>
    <dgm:cxn modelId="{4E6246B5-D0F6-4094-97A3-A45BA3677137}" type="presOf" srcId="{25FBBF35-F65B-4C88-826B-D3FAC6CA1A4A}" destId="{5C8ADD88-BE0B-4D2A-A15B-5A7015316D79}" srcOrd="0" destOrd="0" presId="urn:microsoft.com/office/officeart/2005/8/layout/vList2"/>
    <dgm:cxn modelId="{C2AF01D7-C673-4CF8-8CF9-7C1B5B839DBE}" srcId="{0A75E4AE-BD4F-4271-B4B9-2283FFC2AFD7}" destId="{A31F0797-E706-4915-8837-0329E2759B1B}" srcOrd="5" destOrd="0" parTransId="{E126D327-2785-45F9-97AA-07AD8AE2E753}" sibTransId="{9F6AC7C6-B587-4388-83C2-3DD15AD5667A}"/>
    <dgm:cxn modelId="{668882DD-522E-46A9-8D98-665EE502E121}" type="presOf" srcId="{BCF5E3D4-7AAC-414A-9D61-A889F4C80C97}" destId="{AE8C1957-FB09-4B77-8163-DC247D6E9115}" srcOrd="0" destOrd="0" presId="urn:microsoft.com/office/officeart/2005/8/layout/vList2"/>
    <dgm:cxn modelId="{4C72D1DF-1A18-4246-B3A6-B5635F821E44}" type="presOf" srcId="{2FF50E8D-5E0B-4996-8906-0B2CA001AC98}" destId="{D19E6EAB-A7FC-42D9-B6DE-B48A296EA554}" srcOrd="0" destOrd="0" presId="urn:microsoft.com/office/officeart/2005/8/layout/vList2"/>
    <dgm:cxn modelId="{030B1E92-8B0A-4311-B1B4-7F727579031E}" type="presParOf" srcId="{3915A768-2D8C-49C4-A09A-C95F0503602D}" destId="{AE8C1957-FB09-4B77-8163-DC247D6E9115}" srcOrd="0" destOrd="0" presId="urn:microsoft.com/office/officeart/2005/8/layout/vList2"/>
    <dgm:cxn modelId="{42989447-3780-4577-8184-22A60F6B855C}" type="presParOf" srcId="{3915A768-2D8C-49C4-A09A-C95F0503602D}" destId="{AC678896-6355-40FC-A883-8DA36133E3C9}" srcOrd="1" destOrd="0" presId="urn:microsoft.com/office/officeart/2005/8/layout/vList2"/>
    <dgm:cxn modelId="{B0735D2D-12B0-44AE-BF78-B2BB90799ABC}" type="presParOf" srcId="{3915A768-2D8C-49C4-A09A-C95F0503602D}" destId="{D19E6EAB-A7FC-42D9-B6DE-B48A296EA554}" srcOrd="2" destOrd="0" presId="urn:microsoft.com/office/officeart/2005/8/layout/vList2"/>
    <dgm:cxn modelId="{1D9389DE-0896-4121-A135-B17F3727DEC3}" type="presParOf" srcId="{3915A768-2D8C-49C4-A09A-C95F0503602D}" destId="{1F800B1E-5117-4265-A56B-B116E99F631F}" srcOrd="3" destOrd="0" presId="urn:microsoft.com/office/officeart/2005/8/layout/vList2"/>
    <dgm:cxn modelId="{ADBC7805-2AF5-485E-894D-B340ABC4ECBA}" type="presParOf" srcId="{3915A768-2D8C-49C4-A09A-C95F0503602D}" destId="{5C8ADD88-BE0B-4D2A-A15B-5A7015316D79}" srcOrd="4" destOrd="0" presId="urn:microsoft.com/office/officeart/2005/8/layout/vList2"/>
    <dgm:cxn modelId="{37689DCA-5DAA-4754-A025-9AF72F196962}" type="presParOf" srcId="{3915A768-2D8C-49C4-A09A-C95F0503602D}" destId="{8F7B1A92-6AFE-4BB5-A821-2D925CA35A4A}" srcOrd="5" destOrd="0" presId="urn:microsoft.com/office/officeart/2005/8/layout/vList2"/>
    <dgm:cxn modelId="{B81CAEE8-7436-47B3-B34A-F4BA7FE10B65}" type="presParOf" srcId="{3915A768-2D8C-49C4-A09A-C95F0503602D}" destId="{22F9A931-B54F-4749-95EA-589AE90287FA}" srcOrd="6" destOrd="0" presId="urn:microsoft.com/office/officeart/2005/8/layout/vList2"/>
    <dgm:cxn modelId="{63EC8E37-A05F-478D-A916-C4D70628E90A}" type="presParOf" srcId="{3915A768-2D8C-49C4-A09A-C95F0503602D}" destId="{FEC858A0-4DF9-4958-A421-58AD19441A47}" srcOrd="7" destOrd="0" presId="urn:microsoft.com/office/officeart/2005/8/layout/vList2"/>
    <dgm:cxn modelId="{7DE35451-2DFD-4971-AC4D-39A70A5C379C}" type="presParOf" srcId="{3915A768-2D8C-49C4-A09A-C95F0503602D}" destId="{804C9ED4-7225-4637-85F3-871651806B6E}" srcOrd="8" destOrd="0" presId="urn:microsoft.com/office/officeart/2005/8/layout/vList2"/>
    <dgm:cxn modelId="{C35FD8D5-5D0A-4C79-A854-506E11D632CE}" type="presParOf" srcId="{3915A768-2D8C-49C4-A09A-C95F0503602D}" destId="{0CC7B1C9-7496-4F1D-A3C7-EB824219B33A}" srcOrd="9" destOrd="0" presId="urn:microsoft.com/office/officeart/2005/8/layout/vList2"/>
    <dgm:cxn modelId="{0A09FE58-5A8F-4862-A874-1701EB819776}" type="presParOf" srcId="{3915A768-2D8C-49C4-A09A-C95F0503602D}" destId="{1B416C15-4805-4A75-A7AD-8ABB46CFA792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A20A5C8-8CFB-4AA4-96D7-17BA87010CDB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916767B-B576-4F29-9190-4FEF557AB1F1}">
      <dgm:prSet phldrT="[Text]" custT="1"/>
      <dgm:spPr/>
      <dgm:t>
        <a:bodyPr/>
        <a:lstStyle/>
        <a:p>
          <a:r>
            <a:rPr lang="en-US" sz="3200" dirty="0"/>
            <a:t>Core Values</a:t>
          </a:r>
        </a:p>
      </dgm:t>
    </dgm:pt>
    <dgm:pt modelId="{3D8406F0-0072-4066-8478-352F6BB702B6}" type="parTrans" cxnId="{D26BE9D3-2AEE-4225-964C-CF1A640E94E6}">
      <dgm:prSet/>
      <dgm:spPr/>
      <dgm:t>
        <a:bodyPr/>
        <a:lstStyle/>
        <a:p>
          <a:endParaRPr lang="en-US"/>
        </a:p>
      </dgm:t>
    </dgm:pt>
    <dgm:pt modelId="{4E0F8E76-3FAB-419E-A1BB-60CA86D24CBA}" type="sibTrans" cxnId="{D26BE9D3-2AEE-4225-964C-CF1A640E94E6}">
      <dgm:prSet/>
      <dgm:spPr/>
      <dgm:t>
        <a:bodyPr/>
        <a:lstStyle/>
        <a:p>
          <a:endParaRPr lang="en-US"/>
        </a:p>
      </dgm:t>
    </dgm:pt>
    <dgm:pt modelId="{1756F449-486F-4030-A65C-B63E38A21F90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2000" dirty="0">
              <a:solidFill>
                <a:schemeClr val="tx1"/>
              </a:solidFill>
              <a:latin typeface="+mn-lt"/>
            </a:rPr>
            <a:t>Support</a:t>
          </a:r>
          <a:r>
            <a:rPr lang="en-US" sz="2000" dirty="0">
              <a:latin typeface="+mn-lt"/>
            </a:rPr>
            <a:t> </a:t>
          </a:r>
          <a:r>
            <a:rPr lang="en-US" sz="2000" dirty="0">
              <a:solidFill>
                <a:schemeClr val="tx1"/>
              </a:solidFill>
              <a:latin typeface="+mn-lt"/>
            </a:rPr>
            <a:t>Our</a:t>
          </a:r>
          <a:r>
            <a:rPr lang="en-US" sz="2000" dirty="0">
              <a:latin typeface="+mn-lt"/>
            </a:rPr>
            <a:t> </a:t>
          </a:r>
          <a:r>
            <a:rPr lang="en-US" sz="2000" dirty="0">
              <a:solidFill>
                <a:schemeClr val="tx1"/>
              </a:solidFill>
              <a:latin typeface="+mn-lt"/>
            </a:rPr>
            <a:t>People</a:t>
          </a:r>
        </a:p>
      </dgm:t>
    </dgm:pt>
    <dgm:pt modelId="{01DAF2E3-68E7-4036-8635-CA2A7E274F8C}" type="parTrans" cxnId="{D391A7C2-23A9-47E1-B44E-D88ACF06E905}">
      <dgm:prSet/>
      <dgm:spPr/>
      <dgm:t>
        <a:bodyPr/>
        <a:lstStyle/>
        <a:p>
          <a:endParaRPr lang="en-US"/>
        </a:p>
      </dgm:t>
    </dgm:pt>
    <dgm:pt modelId="{4145D4D2-56EA-4686-BD31-499DD33D8238}" type="sibTrans" cxnId="{D391A7C2-23A9-47E1-B44E-D88ACF06E905}">
      <dgm:prSet/>
      <dgm:spPr/>
      <dgm:t>
        <a:bodyPr/>
        <a:lstStyle/>
        <a:p>
          <a:endParaRPr lang="en-US"/>
        </a:p>
      </dgm:t>
    </dgm:pt>
    <dgm:pt modelId="{74204C76-8F3F-4EE0-8C32-317DAD9ACE9B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2000" dirty="0">
              <a:solidFill>
                <a:schemeClr val="tx1"/>
              </a:solidFill>
              <a:latin typeface="+mn-lt"/>
            </a:rPr>
            <a:t>Customer</a:t>
          </a:r>
          <a:r>
            <a:rPr lang="en-US" sz="2000" dirty="0">
              <a:latin typeface="+mn-lt"/>
            </a:rPr>
            <a:t> </a:t>
          </a:r>
          <a:r>
            <a:rPr lang="en-US" sz="2000" dirty="0">
              <a:solidFill>
                <a:schemeClr val="tx1"/>
              </a:solidFill>
              <a:latin typeface="+mn-lt"/>
            </a:rPr>
            <a:t>Focus</a:t>
          </a:r>
        </a:p>
      </dgm:t>
    </dgm:pt>
    <dgm:pt modelId="{28D2C610-4518-4F8A-A0A1-C3691FA04C2B}" type="parTrans" cxnId="{AB178698-9B70-4414-B390-D9A4663400C5}">
      <dgm:prSet/>
      <dgm:spPr/>
      <dgm:t>
        <a:bodyPr/>
        <a:lstStyle/>
        <a:p>
          <a:endParaRPr lang="en-US"/>
        </a:p>
      </dgm:t>
    </dgm:pt>
    <dgm:pt modelId="{A301938A-9DA9-4B78-87A4-959261A074C7}" type="sibTrans" cxnId="{AB178698-9B70-4414-B390-D9A4663400C5}">
      <dgm:prSet/>
      <dgm:spPr/>
      <dgm:t>
        <a:bodyPr/>
        <a:lstStyle/>
        <a:p>
          <a:endParaRPr lang="en-US"/>
        </a:p>
      </dgm:t>
    </dgm:pt>
    <dgm:pt modelId="{9A158F44-6378-4ECF-AB70-75EA0769DD39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2000" dirty="0">
              <a:solidFill>
                <a:schemeClr val="tx1"/>
              </a:solidFill>
              <a:latin typeface="+mn-lt"/>
            </a:rPr>
            <a:t>Collaboration</a:t>
          </a:r>
        </a:p>
      </dgm:t>
    </dgm:pt>
    <dgm:pt modelId="{98ADBA17-A4C5-4216-853D-DE105993EFBE}" type="parTrans" cxnId="{88031391-BA49-467D-8848-063433CB3610}">
      <dgm:prSet/>
      <dgm:spPr/>
      <dgm:t>
        <a:bodyPr/>
        <a:lstStyle/>
        <a:p>
          <a:endParaRPr lang="en-US"/>
        </a:p>
      </dgm:t>
    </dgm:pt>
    <dgm:pt modelId="{CB57CB74-A263-45D5-B76D-43F86B88CC60}" type="sibTrans" cxnId="{88031391-BA49-467D-8848-063433CB3610}">
      <dgm:prSet/>
      <dgm:spPr/>
      <dgm:t>
        <a:bodyPr/>
        <a:lstStyle/>
        <a:p>
          <a:endParaRPr lang="en-US"/>
        </a:p>
      </dgm:t>
    </dgm:pt>
    <dgm:pt modelId="{89FCC646-EA05-4715-8AD4-94D5DFF8795C}">
      <dgm:prSet phldr="0" custT="1"/>
      <dgm:spPr/>
      <dgm:t>
        <a:bodyPr/>
        <a:lstStyle/>
        <a:p>
          <a:pPr rtl="0"/>
          <a:r>
            <a:rPr lang="en-US" sz="2000" dirty="0">
              <a:latin typeface="+mn-lt"/>
            </a:rPr>
            <a:t>Integrity</a:t>
          </a:r>
        </a:p>
      </dgm:t>
    </dgm:pt>
    <dgm:pt modelId="{F7A013BA-4D0D-421D-B8B0-4F16B1A1299D}" type="parTrans" cxnId="{E8F4AFB8-7782-428C-808E-E860CBC1F512}">
      <dgm:prSet/>
      <dgm:spPr/>
      <dgm:t>
        <a:bodyPr/>
        <a:lstStyle/>
        <a:p>
          <a:endParaRPr lang="en-US"/>
        </a:p>
      </dgm:t>
    </dgm:pt>
    <dgm:pt modelId="{67E72BBF-D19B-4DB5-B732-776F93694EC2}" type="sibTrans" cxnId="{E8F4AFB8-7782-428C-808E-E860CBC1F512}">
      <dgm:prSet/>
      <dgm:spPr/>
      <dgm:t>
        <a:bodyPr/>
        <a:lstStyle/>
        <a:p>
          <a:endParaRPr lang="en-US"/>
        </a:p>
      </dgm:t>
    </dgm:pt>
    <dgm:pt modelId="{0DA4EA9B-C10F-436D-8E12-6A376E076057}">
      <dgm:prSet phldr="0" custT="1"/>
      <dgm:spPr/>
      <dgm:t>
        <a:bodyPr/>
        <a:lstStyle/>
        <a:p>
          <a:pPr rtl="0"/>
          <a:r>
            <a:rPr lang="en-US" sz="2000" dirty="0">
              <a:latin typeface="+mn-lt"/>
            </a:rPr>
            <a:t>Safety &amp; Quality</a:t>
          </a:r>
        </a:p>
      </dgm:t>
    </dgm:pt>
    <dgm:pt modelId="{1D4B8C89-ECEB-4CE6-9FAA-474E621D5FDD}" type="parTrans" cxnId="{FCF4B2BA-9FE8-4A71-B96D-C0C1FB64C2DB}">
      <dgm:prSet/>
      <dgm:spPr/>
      <dgm:t>
        <a:bodyPr/>
        <a:lstStyle/>
        <a:p>
          <a:endParaRPr lang="en-US"/>
        </a:p>
      </dgm:t>
    </dgm:pt>
    <dgm:pt modelId="{6FD3099F-6833-47EA-AE08-C75F21CC71DE}" type="sibTrans" cxnId="{FCF4B2BA-9FE8-4A71-B96D-C0C1FB64C2DB}">
      <dgm:prSet/>
      <dgm:spPr/>
      <dgm:t>
        <a:bodyPr/>
        <a:lstStyle/>
        <a:p>
          <a:endParaRPr lang="en-US"/>
        </a:p>
      </dgm:t>
    </dgm:pt>
    <dgm:pt modelId="{9B8642C8-EAF0-4274-ACB6-610DABD8E2DF}">
      <dgm:prSet phldr="0" custT="1"/>
      <dgm:spPr/>
      <dgm:t>
        <a:bodyPr/>
        <a:lstStyle/>
        <a:p>
          <a:pPr rtl="0"/>
          <a:r>
            <a:rPr lang="en-US" sz="2000" dirty="0">
              <a:latin typeface="+mn-lt"/>
            </a:rPr>
            <a:t>Continuous Improvement</a:t>
          </a:r>
        </a:p>
      </dgm:t>
    </dgm:pt>
    <dgm:pt modelId="{D5A341BA-4874-4F79-9161-657EF2E1BA9D}" type="parTrans" cxnId="{F65C2A45-5836-458B-B614-DD18494D60E6}">
      <dgm:prSet/>
      <dgm:spPr/>
      <dgm:t>
        <a:bodyPr/>
        <a:lstStyle/>
        <a:p>
          <a:endParaRPr lang="en-US"/>
        </a:p>
      </dgm:t>
    </dgm:pt>
    <dgm:pt modelId="{991F1F8B-C1DF-4134-8EEF-E5D714EB1989}" type="sibTrans" cxnId="{F65C2A45-5836-458B-B614-DD18494D60E6}">
      <dgm:prSet/>
      <dgm:spPr/>
      <dgm:t>
        <a:bodyPr/>
        <a:lstStyle/>
        <a:p>
          <a:endParaRPr lang="en-US"/>
        </a:p>
      </dgm:t>
    </dgm:pt>
    <dgm:pt modelId="{0BCDEAE5-6B57-438B-9ABC-B5B82FF90354}">
      <dgm:prSet phldr="0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2000" dirty="0">
              <a:solidFill>
                <a:schemeClr val="tx1"/>
              </a:solidFill>
              <a:latin typeface="+mn-lt"/>
            </a:rPr>
            <a:t>Innovation</a:t>
          </a:r>
        </a:p>
      </dgm:t>
    </dgm:pt>
    <dgm:pt modelId="{33F85DE5-FA86-4C59-9315-D73B0FDF9541}" type="parTrans" cxnId="{C1CCB735-39CA-4AF4-9980-038F2099D5E4}">
      <dgm:prSet/>
      <dgm:spPr/>
      <dgm:t>
        <a:bodyPr/>
        <a:lstStyle/>
        <a:p>
          <a:endParaRPr lang="en-US"/>
        </a:p>
      </dgm:t>
    </dgm:pt>
    <dgm:pt modelId="{BE89682C-D006-4902-AB22-867483ADDFA5}" type="sibTrans" cxnId="{C1CCB735-39CA-4AF4-9980-038F2099D5E4}">
      <dgm:prSet/>
      <dgm:spPr/>
      <dgm:t>
        <a:bodyPr/>
        <a:lstStyle/>
        <a:p>
          <a:endParaRPr lang="en-US"/>
        </a:p>
      </dgm:t>
    </dgm:pt>
    <dgm:pt modelId="{2076B986-A0EF-4E24-AC07-9DD519E3D3A9}" type="pres">
      <dgm:prSet presAssocID="{EA20A5C8-8CFB-4AA4-96D7-17BA87010CDB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BD8552E1-5BF0-415C-90E1-09A76E308A7C}" type="pres">
      <dgm:prSet presAssocID="{2916767B-B576-4F29-9190-4FEF557AB1F1}" presName="centerShape" presStyleLbl="node0" presStyleIdx="0" presStyleCnt="1" custLinFactNeighborY="0"/>
      <dgm:spPr/>
    </dgm:pt>
    <dgm:pt modelId="{07EA7ECA-2FC6-4FF2-97F8-0E3325761A61}" type="pres">
      <dgm:prSet presAssocID="{F7A013BA-4D0D-421D-B8B0-4F16B1A1299D}" presName="parTrans" presStyleLbl="bgSibTrans2D1" presStyleIdx="0" presStyleCnt="7"/>
      <dgm:spPr/>
    </dgm:pt>
    <dgm:pt modelId="{89B4054A-2892-427F-81AE-F72728C74541}" type="pres">
      <dgm:prSet presAssocID="{89FCC646-EA05-4715-8AD4-94D5DFF8795C}" presName="node" presStyleLbl="node1" presStyleIdx="0" presStyleCnt="7">
        <dgm:presLayoutVars>
          <dgm:bulletEnabled val="1"/>
        </dgm:presLayoutVars>
      </dgm:prSet>
      <dgm:spPr/>
    </dgm:pt>
    <dgm:pt modelId="{741DDCF4-19BB-46FE-9936-611C7D570DA1}" type="pres">
      <dgm:prSet presAssocID="{1D4B8C89-ECEB-4CE6-9FAA-474E621D5FDD}" presName="parTrans" presStyleLbl="bgSibTrans2D1" presStyleIdx="1" presStyleCnt="7"/>
      <dgm:spPr/>
    </dgm:pt>
    <dgm:pt modelId="{4473A48D-BD1D-4252-87FE-2FEDCCA83026}" type="pres">
      <dgm:prSet presAssocID="{0DA4EA9B-C10F-436D-8E12-6A376E076057}" presName="node" presStyleLbl="node1" presStyleIdx="1" presStyleCnt="7">
        <dgm:presLayoutVars>
          <dgm:bulletEnabled val="1"/>
        </dgm:presLayoutVars>
      </dgm:prSet>
      <dgm:spPr/>
    </dgm:pt>
    <dgm:pt modelId="{1E62DC99-2A2C-40CF-9FFD-F4B16DAC2408}" type="pres">
      <dgm:prSet presAssocID="{01DAF2E3-68E7-4036-8635-CA2A7E274F8C}" presName="parTrans" presStyleLbl="bgSibTrans2D1" presStyleIdx="2" presStyleCnt="7"/>
      <dgm:spPr/>
    </dgm:pt>
    <dgm:pt modelId="{33D366A7-6AF5-47B9-8374-ADE0F163A99F}" type="pres">
      <dgm:prSet presAssocID="{1756F449-486F-4030-A65C-B63E38A21F90}" presName="node" presStyleLbl="node1" presStyleIdx="2" presStyleCnt="7">
        <dgm:presLayoutVars>
          <dgm:bulletEnabled val="1"/>
        </dgm:presLayoutVars>
      </dgm:prSet>
      <dgm:spPr/>
    </dgm:pt>
    <dgm:pt modelId="{488563CF-1D3A-4DE4-B21E-7BB44FFF06DF}" type="pres">
      <dgm:prSet presAssocID="{28D2C610-4518-4F8A-A0A1-C3691FA04C2B}" presName="parTrans" presStyleLbl="bgSibTrans2D1" presStyleIdx="3" presStyleCnt="7"/>
      <dgm:spPr/>
    </dgm:pt>
    <dgm:pt modelId="{98EB846B-FB6A-4255-A179-BE18ACBD474F}" type="pres">
      <dgm:prSet presAssocID="{74204C76-8F3F-4EE0-8C32-317DAD9ACE9B}" presName="node" presStyleLbl="node1" presStyleIdx="3" presStyleCnt="7">
        <dgm:presLayoutVars>
          <dgm:bulletEnabled val="1"/>
        </dgm:presLayoutVars>
      </dgm:prSet>
      <dgm:spPr/>
    </dgm:pt>
    <dgm:pt modelId="{93F46173-76D5-46DC-A62E-A9F5B97A9087}" type="pres">
      <dgm:prSet presAssocID="{D5A341BA-4874-4F79-9161-657EF2E1BA9D}" presName="parTrans" presStyleLbl="bgSibTrans2D1" presStyleIdx="4" presStyleCnt="7"/>
      <dgm:spPr/>
    </dgm:pt>
    <dgm:pt modelId="{2042595A-E267-4639-99A0-66CB4FADAE9A}" type="pres">
      <dgm:prSet presAssocID="{9B8642C8-EAF0-4274-ACB6-610DABD8E2DF}" presName="node" presStyleLbl="node1" presStyleIdx="4" presStyleCnt="7">
        <dgm:presLayoutVars>
          <dgm:bulletEnabled val="1"/>
        </dgm:presLayoutVars>
      </dgm:prSet>
      <dgm:spPr/>
    </dgm:pt>
    <dgm:pt modelId="{56DF3E3D-995F-45F2-9B71-EF33C0DD64BF}" type="pres">
      <dgm:prSet presAssocID="{98ADBA17-A4C5-4216-853D-DE105993EFBE}" presName="parTrans" presStyleLbl="bgSibTrans2D1" presStyleIdx="5" presStyleCnt="7"/>
      <dgm:spPr/>
    </dgm:pt>
    <dgm:pt modelId="{8DFE4819-0D86-4A9B-9CAD-833B4B88BF59}" type="pres">
      <dgm:prSet presAssocID="{9A158F44-6378-4ECF-AB70-75EA0769DD39}" presName="node" presStyleLbl="node1" presStyleIdx="5" presStyleCnt="7">
        <dgm:presLayoutVars>
          <dgm:bulletEnabled val="1"/>
        </dgm:presLayoutVars>
      </dgm:prSet>
      <dgm:spPr/>
    </dgm:pt>
    <dgm:pt modelId="{F42DECB0-DDBA-4BCF-9312-133C16013B8D}" type="pres">
      <dgm:prSet presAssocID="{33F85DE5-FA86-4C59-9315-D73B0FDF9541}" presName="parTrans" presStyleLbl="bgSibTrans2D1" presStyleIdx="6" presStyleCnt="7"/>
      <dgm:spPr/>
    </dgm:pt>
    <dgm:pt modelId="{24BF457B-8708-4225-B053-2CD09D68D0F6}" type="pres">
      <dgm:prSet presAssocID="{0BCDEAE5-6B57-438B-9ABC-B5B82FF90354}" presName="node" presStyleLbl="node1" presStyleIdx="6" presStyleCnt="7">
        <dgm:presLayoutVars>
          <dgm:bulletEnabled val="1"/>
        </dgm:presLayoutVars>
      </dgm:prSet>
      <dgm:spPr/>
    </dgm:pt>
  </dgm:ptLst>
  <dgm:cxnLst>
    <dgm:cxn modelId="{A49F8805-6987-41EC-BB2B-1857812D52CB}" type="presOf" srcId="{1756F449-486F-4030-A65C-B63E38A21F90}" destId="{33D366A7-6AF5-47B9-8374-ADE0F163A99F}" srcOrd="0" destOrd="0" presId="urn:microsoft.com/office/officeart/2005/8/layout/radial4"/>
    <dgm:cxn modelId="{13FC0B0F-8EA7-4E08-9595-8BB5308D3398}" type="presOf" srcId="{0DA4EA9B-C10F-436D-8E12-6A376E076057}" destId="{4473A48D-BD1D-4252-87FE-2FEDCCA83026}" srcOrd="0" destOrd="0" presId="urn:microsoft.com/office/officeart/2005/8/layout/radial4"/>
    <dgm:cxn modelId="{FAEF481A-EAEB-4267-A33F-117ED07B4E74}" type="presOf" srcId="{D5A341BA-4874-4F79-9161-657EF2E1BA9D}" destId="{93F46173-76D5-46DC-A62E-A9F5B97A9087}" srcOrd="0" destOrd="0" presId="urn:microsoft.com/office/officeart/2005/8/layout/radial4"/>
    <dgm:cxn modelId="{A1660D1B-8741-4713-A02F-028D8FA36CDB}" type="presOf" srcId="{98ADBA17-A4C5-4216-853D-DE105993EFBE}" destId="{56DF3E3D-995F-45F2-9B71-EF33C0DD64BF}" srcOrd="0" destOrd="0" presId="urn:microsoft.com/office/officeart/2005/8/layout/radial4"/>
    <dgm:cxn modelId="{C1CCB735-39CA-4AF4-9980-038F2099D5E4}" srcId="{2916767B-B576-4F29-9190-4FEF557AB1F1}" destId="{0BCDEAE5-6B57-438B-9ABC-B5B82FF90354}" srcOrd="6" destOrd="0" parTransId="{33F85DE5-FA86-4C59-9315-D73B0FDF9541}" sibTransId="{BE89682C-D006-4902-AB22-867483ADDFA5}"/>
    <dgm:cxn modelId="{76F25C5C-CED8-4ED4-B6F0-9ADB88F477C9}" type="presOf" srcId="{EA20A5C8-8CFB-4AA4-96D7-17BA87010CDB}" destId="{2076B986-A0EF-4E24-AC07-9DD519E3D3A9}" srcOrd="0" destOrd="0" presId="urn:microsoft.com/office/officeart/2005/8/layout/radial4"/>
    <dgm:cxn modelId="{A7A6DD60-420A-459D-9D06-52719B3A51AF}" type="presOf" srcId="{1D4B8C89-ECEB-4CE6-9FAA-474E621D5FDD}" destId="{741DDCF4-19BB-46FE-9936-611C7D570DA1}" srcOrd="0" destOrd="0" presId="urn:microsoft.com/office/officeart/2005/8/layout/radial4"/>
    <dgm:cxn modelId="{553FD162-934E-4EC5-B816-EB17FED93C76}" type="presOf" srcId="{9B8642C8-EAF0-4274-ACB6-610DABD8E2DF}" destId="{2042595A-E267-4639-99A0-66CB4FADAE9A}" srcOrd="0" destOrd="0" presId="urn:microsoft.com/office/officeart/2005/8/layout/radial4"/>
    <dgm:cxn modelId="{F65C2A45-5836-458B-B614-DD18494D60E6}" srcId="{2916767B-B576-4F29-9190-4FEF557AB1F1}" destId="{9B8642C8-EAF0-4274-ACB6-610DABD8E2DF}" srcOrd="4" destOrd="0" parTransId="{D5A341BA-4874-4F79-9161-657EF2E1BA9D}" sibTransId="{991F1F8B-C1DF-4134-8EEF-E5D714EB1989}"/>
    <dgm:cxn modelId="{66D07949-8C26-43DC-9A3A-2B8CEA9F8DF9}" type="presOf" srcId="{01DAF2E3-68E7-4036-8635-CA2A7E274F8C}" destId="{1E62DC99-2A2C-40CF-9FFD-F4B16DAC2408}" srcOrd="0" destOrd="0" presId="urn:microsoft.com/office/officeart/2005/8/layout/radial4"/>
    <dgm:cxn modelId="{18D97D55-0457-4081-9ABD-EA85D468DDEA}" type="presOf" srcId="{28D2C610-4518-4F8A-A0A1-C3691FA04C2B}" destId="{488563CF-1D3A-4DE4-B21E-7BB44FFF06DF}" srcOrd="0" destOrd="0" presId="urn:microsoft.com/office/officeart/2005/8/layout/radial4"/>
    <dgm:cxn modelId="{C4A62B77-BB1F-4A13-9F6F-E6A363C5EDF4}" type="presOf" srcId="{89FCC646-EA05-4715-8AD4-94D5DFF8795C}" destId="{89B4054A-2892-427F-81AE-F72728C74541}" srcOrd="0" destOrd="0" presId="urn:microsoft.com/office/officeart/2005/8/layout/radial4"/>
    <dgm:cxn modelId="{2AF0A859-1319-43B9-B84F-30ED19B2E37E}" type="presOf" srcId="{9A158F44-6378-4ECF-AB70-75EA0769DD39}" destId="{8DFE4819-0D86-4A9B-9CAD-833B4B88BF59}" srcOrd="0" destOrd="0" presId="urn:microsoft.com/office/officeart/2005/8/layout/radial4"/>
    <dgm:cxn modelId="{D8787B8E-BF38-4196-8EC3-00EACB2ACED8}" type="presOf" srcId="{74204C76-8F3F-4EE0-8C32-317DAD9ACE9B}" destId="{98EB846B-FB6A-4255-A179-BE18ACBD474F}" srcOrd="0" destOrd="0" presId="urn:microsoft.com/office/officeart/2005/8/layout/radial4"/>
    <dgm:cxn modelId="{88031391-BA49-467D-8848-063433CB3610}" srcId="{2916767B-B576-4F29-9190-4FEF557AB1F1}" destId="{9A158F44-6378-4ECF-AB70-75EA0769DD39}" srcOrd="5" destOrd="0" parTransId="{98ADBA17-A4C5-4216-853D-DE105993EFBE}" sibTransId="{CB57CB74-A263-45D5-B76D-43F86B88CC60}"/>
    <dgm:cxn modelId="{AB178698-9B70-4414-B390-D9A4663400C5}" srcId="{2916767B-B576-4F29-9190-4FEF557AB1F1}" destId="{74204C76-8F3F-4EE0-8C32-317DAD9ACE9B}" srcOrd="3" destOrd="0" parTransId="{28D2C610-4518-4F8A-A0A1-C3691FA04C2B}" sibTransId="{A301938A-9DA9-4B78-87A4-959261A074C7}"/>
    <dgm:cxn modelId="{18B1B0A3-16F7-4777-AE4C-10BE29BC24CE}" type="presOf" srcId="{33F85DE5-FA86-4C59-9315-D73B0FDF9541}" destId="{F42DECB0-DDBA-4BCF-9312-133C16013B8D}" srcOrd="0" destOrd="0" presId="urn:microsoft.com/office/officeart/2005/8/layout/radial4"/>
    <dgm:cxn modelId="{E8F4AFB8-7782-428C-808E-E860CBC1F512}" srcId="{2916767B-B576-4F29-9190-4FEF557AB1F1}" destId="{89FCC646-EA05-4715-8AD4-94D5DFF8795C}" srcOrd="0" destOrd="0" parTransId="{F7A013BA-4D0D-421D-B8B0-4F16B1A1299D}" sibTransId="{67E72BBF-D19B-4DB5-B732-776F93694EC2}"/>
    <dgm:cxn modelId="{FCF4B2BA-9FE8-4A71-B96D-C0C1FB64C2DB}" srcId="{2916767B-B576-4F29-9190-4FEF557AB1F1}" destId="{0DA4EA9B-C10F-436D-8E12-6A376E076057}" srcOrd="1" destOrd="0" parTransId="{1D4B8C89-ECEB-4CE6-9FAA-474E621D5FDD}" sibTransId="{6FD3099F-6833-47EA-AE08-C75F21CC71DE}"/>
    <dgm:cxn modelId="{D391A7C2-23A9-47E1-B44E-D88ACF06E905}" srcId="{2916767B-B576-4F29-9190-4FEF557AB1F1}" destId="{1756F449-486F-4030-A65C-B63E38A21F90}" srcOrd="2" destOrd="0" parTransId="{01DAF2E3-68E7-4036-8635-CA2A7E274F8C}" sibTransId="{4145D4D2-56EA-4686-BD31-499DD33D8238}"/>
    <dgm:cxn modelId="{C0FB3ED1-6852-48D5-ABFE-9261DF649135}" type="presOf" srcId="{0BCDEAE5-6B57-438B-9ABC-B5B82FF90354}" destId="{24BF457B-8708-4225-B053-2CD09D68D0F6}" srcOrd="0" destOrd="0" presId="urn:microsoft.com/office/officeart/2005/8/layout/radial4"/>
    <dgm:cxn modelId="{D26BE9D3-2AEE-4225-964C-CF1A640E94E6}" srcId="{EA20A5C8-8CFB-4AA4-96D7-17BA87010CDB}" destId="{2916767B-B576-4F29-9190-4FEF557AB1F1}" srcOrd="0" destOrd="0" parTransId="{3D8406F0-0072-4066-8478-352F6BB702B6}" sibTransId="{4E0F8E76-3FAB-419E-A1BB-60CA86D24CBA}"/>
    <dgm:cxn modelId="{822245F7-FD5E-4C0B-8CC6-8B2145095A5C}" type="presOf" srcId="{2916767B-B576-4F29-9190-4FEF557AB1F1}" destId="{BD8552E1-5BF0-415C-90E1-09A76E308A7C}" srcOrd="0" destOrd="0" presId="urn:microsoft.com/office/officeart/2005/8/layout/radial4"/>
    <dgm:cxn modelId="{870E16FA-2C87-47BF-9740-E7F2E29D6ED4}" type="presOf" srcId="{F7A013BA-4D0D-421D-B8B0-4F16B1A1299D}" destId="{07EA7ECA-2FC6-4FF2-97F8-0E3325761A61}" srcOrd="0" destOrd="0" presId="urn:microsoft.com/office/officeart/2005/8/layout/radial4"/>
    <dgm:cxn modelId="{A9610849-D6B4-4607-92F9-5DD540673305}" type="presParOf" srcId="{2076B986-A0EF-4E24-AC07-9DD519E3D3A9}" destId="{BD8552E1-5BF0-415C-90E1-09A76E308A7C}" srcOrd="0" destOrd="0" presId="urn:microsoft.com/office/officeart/2005/8/layout/radial4"/>
    <dgm:cxn modelId="{F1F44EA4-669C-4914-B29C-00938580E0EA}" type="presParOf" srcId="{2076B986-A0EF-4E24-AC07-9DD519E3D3A9}" destId="{07EA7ECA-2FC6-4FF2-97F8-0E3325761A61}" srcOrd="1" destOrd="0" presId="urn:microsoft.com/office/officeart/2005/8/layout/radial4"/>
    <dgm:cxn modelId="{CE97B65D-32FC-4030-B2C7-7299AFE69DAB}" type="presParOf" srcId="{2076B986-A0EF-4E24-AC07-9DD519E3D3A9}" destId="{89B4054A-2892-427F-81AE-F72728C74541}" srcOrd="2" destOrd="0" presId="urn:microsoft.com/office/officeart/2005/8/layout/radial4"/>
    <dgm:cxn modelId="{596E60A2-B658-4789-BA9B-77E99C90C457}" type="presParOf" srcId="{2076B986-A0EF-4E24-AC07-9DD519E3D3A9}" destId="{741DDCF4-19BB-46FE-9936-611C7D570DA1}" srcOrd="3" destOrd="0" presId="urn:microsoft.com/office/officeart/2005/8/layout/radial4"/>
    <dgm:cxn modelId="{7930880F-0C12-49A5-8BC2-24F62DCCD9F4}" type="presParOf" srcId="{2076B986-A0EF-4E24-AC07-9DD519E3D3A9}" destId="{4473A48D-BD1D-4252-87FE-2FEDCCA83026}" srcOrd="4" destOrd="0" presId="urn:microsoft.com/office/officeart/2005/8/layout/radial4"/>
    <dgm:cxn modelId="{D661B6E0-87C7-45BA-9BEE-A8F8CB1323F9}" type="presParOf" srcId="{2076B986-A0EF-4E24-AC07-9DD519E3D3A9}" destId="{1E62DC99-2A2C-40CF-9FFD-F4B16DAC2408}" srcOrd="5" destOrd="0" presId="urn:microsoft.com/office/officeart/2005/8/layout/radial4"/>
    <dgm:cxn modelId="{21690E4E-B629-4317-BEB7-0DA270CB9F26}" type="presParOf" srcId="{2076B986-A0EF-4E24-AC07-9DD519E3D3A9}" destId="{33D366A7-6AF5-47B9-8374-ADE0F163A99F}" srcOrd="6" destOrd="0" presId="urn:microsoft.com/office/officeart/2005/8/layout/radial4"/>
    <dgm:cxn modelId="{D1E2FAAF-86EB-4031-A6F1-E8DFFE9FEB7A}" type="presParOf" srcId="{2076B986-A0EF-4E24-AC07-9DD519E3D3A9}" destId="{488563CF-1D3A-4DE4-B21E-7BB44FFF06DF}" srcOrd="7" destOrd="0" presId="urn:microsoft.com/office/officeart/2005/8/layout/radial4"/>
    <dgm:cxn modelId="{429A16A2-1D7A-41A6-867D-FF6CED349C6A}" type="presParOf" srcId="{2076B986-A0EF-4E24-AC07-9DD519E3D3A9}" destId="{98EB846B-FB6A-4255-A179-BE18ACBD474F}" srcOrd="8" destOrd="0" presId="urn:microsoft.com/office/officeart/2005/8/layout/radial4"/>
    <dgm:cxn modelId="{4B906354-23D4-4234-8B7E-F81D240F638D}" type="presParOf" srcId="{2076B986-A0EF-4E24-AC07-9DD519E3D3A9}" destId="{93F46173-76D5-46DC-A62E-A9F5B97A9087}" srcOrd="9" destOrd="0" presId="urn:microsoft.com/office/officeart/2005/8/layout/radial4"/>
    <dgm:cxn modelId="{8BDE2BFF-9278-4683-8669-7B7C22AFFEC9}" type="presParOf" srcId="{2076B986-A0EF-4E24-AC07-9DD519E3D3A9}" destId="{2042595A-E267-4639-99A0-66CB4FADAE9A}" srcOrd="10" destOrd="0" presId="urn:microsoft.com/office/officeart/2005/8/layout/radial4"/>
    <dgm:cxn modelId="{FBD5DBE1-1926-4DC7-808D-DE4E1B9E4DF8}" type="presParOf" srcId="{2076B986-A0EF-4E24-AC07-9DD519E3D3A9}" destId="{56DF3E3D-995F-45F2-9B71-EF33C0DD64BF}" srcOrd="11" destOrd="0" presId="urn:microsoft.com/office/officeart/2005/8/layout/radial4"/>
    <dgm:cxn modelId="{A0F5421C-2AFC-4C89-A324-1BF70EEF551B}" type="presParOf" srcId="{2076B986-A0EF-4E24-AC07-9DD519E3D3A9}" destId="{8DFE4819-0D86-4A9B-9CAD-833B4B88BF59}" srcOrd="12" destOrd="0" presId="urn:microsoft.com/office/officeart/2005/8/layout/radial4"/>
    <dgm:cxn modelId="{C4165C2B-911C-4EAE-A313-7BB5D695F6F4}" type="presParOf" srcId="{2076B986-A0EF-4E24-AC07-9DD519E3D3A9}" destId="{F42DECB0-DDBA-4BCF-9312-133C16013B8D}" srcOrd="13" destOrd="0" presId="urn:microsoft.com/office/officeart/2005/8/layout/radial4"/>
    <dgm:cxn modelId="{99E8EF01-7C78-4FAA-AF77-8F7D82A36BD1}" type="presParOf" srcId="{2076B986-A0EF-4E24-AC07-9DD519E3D3A9}" destId="{24BF457B-8708-4225-B053-2CD09D68D0F6}" srcOrd="1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2502113-8E10-4D72-B700-F65F808AD33A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33A955E-1811-41C9-BB00-996228EE7DB1}">
      <dgm:prSet phldrT="[Text]"/>
      <dgm:spPr/>
      <dgm:t>
        <a:bodyPr/>
        <a:lstStyle/>
        <a:p>
          <a:r>
            <a:rPr lang="en-US" b="1">
              <a:latin typeface="+mn-lt"/>
            </a:rPr>
            <a:t>Cranberry Township, PA</a:t>
          </a:r>
        </a:p>
      </dgm:t>
    </dgm:pt>
    <dgm:pt modelId="{FB8154ED-7CC8-404C-882C-F1983F068DE1}" type="parTrans" cxnId="{899944DA-442D-4E00-BF5E-20F1020066AF}">
      <dgm:prSet/>
      <dgm:spPr/>
      <dgm:t>
        <a:bodyPr/>
        <a:lstStyle/>
        <a:p>
          <a:endParaRPr lang="en-US"/>
        </a:p>
      </dgm:t>
    </dgm:pt>
    <dgm:pt modelId="{BB2D49F6-207D-4207-895A-3155CE4D06EC}" type="sibTrans" cxnId="{899944DA-442D-4E00-BF5E-20F1020066AF}">
      <dgm:prSet/>
      <dgm:spPr/>
      <dgm:t>
        <a:bodyPr/>
        <a:lstStyle/>
        <a:p>
          <a:endParaRPr lang="en-US"/>
        </a:p>
      </dgm:t>
    </dgm:pt>
    <dgm:pt modelId="{F608B617-989E-4E71-800E-7D4A6E617859}">
      <dgm:prSet phldrT="[Text]"/>
      <dgm:spPr/>
      <dgm:t>
        <a:bodyPr/>
        <a:lstStyle/>
        <a:p>
          <a:r>
            <a:rPr lang="en-US" b="1">
              <a:latin typeface="+mn-lt"/>
            </a:rPr>
            <a:t>Assumption: Functioning facility needing upgrades</a:t>
          </a:r>
        </a:p>
      </dgm:t>
    </dgm:pt>
    <dgm:pt modelId="{C1E75EB8-0A09-40BB-97AD-24AEE574AF18}" type="parTrans" cxnId="{52719BB5-1E5F-450B-96C4-360EAEB2759E}">
      <dgm:prSet/>
      <dgm:spPr/>
      <dgm:t>
        <a:bodyPr/>
        <a:lstStyle/>
        <a:p>
          <a:endParaRPr lang="en-US"/>
        </a:p>
      </dgm:t>
    </dgm:pt>
    <dgm:pt modelId="{7BC61DE2-B097-45F7-A87C-DF548A6C5008}" type="sibTrans" cxnId="{52719BB5-1E5F-450B-96C4-360EAEB2759E}">
      <dgm:prSet/>
      <dgm:spPr/>
      <dgm:t>
        <a:bodyPr/>
        <a:lstStyle/>
        <a:p>
          <a:endParaRPr lang="en-US"/>
        </a:p>
      </dgm:t>
    </dgm:pt>
    <dgm:pt modelId="{094E7B82-C96E-4DD4-BE27-A6327B87D25C}">
      <dgm:prSet phldrT="[Text]"/>
      <dgm:spPr/>
      <dgm:t>
        <a:bodyPr/>
        <a:lstStyle/>
        <a:p>
          <a:pPr rtl="0"/>
          <a:r>
            <a:rPr lang="en-US" b="1">
              <a:latin typeface="+mn-lt"/>
            </a:rPr>
            <a:t>Assumption: Facility is fully functional and ready for use</a:t>
          </a:r>
        </a:p>
      </dgm:t>
    </dgm:pt>
    <dgm:pt modelId="{433850E7-738C-443F-8CDB-5A05B92B57B7}" type="parTrans" cxnId="{DA75086E-AF22-498F-83D1-5506CC234355}">
      <dgm:prSet/>
      <dgm:spPr/>
      <dgm:t>
        <a:bodyPr/>
        <a:lstStyle/>
        <a:p>
          <a:endParaRPr lang="en-US"/>
        </a:p>
      </dgm:t>
    </dgm:pt>
    <dgm:pt modelId="{2862DD58-41B4-4650-BED3-229601386503}" type="sibTrans" cxnId="{DA75086E-AF22-498F-83D1-5506CC234355}">
      <dgm:prSet/>
      <dgm:spPr/>
      <dgm:t>
        <a:bodyPr/>
        <a:lstStyle/>
        <a:p>
          <a:endParaRPr lang="en-US"/>
        </a:p>
      </dgm:t>
    </dgm:pt>
    <dgm:pt modelId="{FC3F1845-82B1-4639-9C99-6E5706E4FC17}">
      <dgm:prSet phldrT="[Text]"/>
      <dgm:spPr/>
      <dgm:t>
        <a:bodyPr/>
        <a:lstStyle/>
        <a:p>
          <a:r>
            <a:rPr lang="en-US" b="1">
              <a:latin typeface="+mn-lt"/>
            </a:rPr>
            <a:t>Near other major businesses, multi-star hotels, and restaurants</a:t>
          </a:r>
        </a:p>
      </dgm:t>
    </dgm:pt>
    <dgm:pt modelId="{64364179-3E30-46A2-9BD2-07B72CCF832C}" type="parTrans" cxnId="{0EE9B965-55E5-4888-80E8-5350A914FA0D}">
      <dgm:prSet/>
      <dgm:spPr/>
      <dgm:t>
        <a:bodyPr/>
        <a:lstStyle/>
        <a:p>
          <a:endParaRPr lang="en-US"/>
        </a:p>
      </dgm:t>
    </dgm:pt>
    <dgm:pt modelId="{201AEE4D-A13F-4D4E-8824-6D2F33C2C784}" type="sibTrans" cxnId="{0EE9B965-55E5-4888-80E8-5350A914FA0D}">
      <dgm:prSet/>
      <dgm:spPr/>
      <dgm:t>
        <a:bodyPr/>
        <a:lstStyle/>
        <a:p>
          <a:endParaRPr lang="en-US"/>
        </a:p>
      </dgm:t>
    </dgm:pt>
    <dgm:pt modelId="{AE8D5E53-C4B8-4379-A605-7BC40FF7B8BF}">
      <dgm:prSet phldrT="[Text]"/>
      <dgm:spPr/>
      <dgm:t>
        <a:bodyPr/>
        <a:lstStyle/>
        <a:p>
          <a:r>
            <a:rPr lang="en-US" b="1" dirty="0">
              <a:latin typeface="+mn-lt"/>
            </a:rPr>
            <a:t>Canonsburg, PA</a:t>
          </a:r>
        </a:p>
      </dgm:t>
    </dgm:pt>
    <dgm:pt modelId="{D5E004F2-2AC1-4B09-A30A-95E66A8F87EC}" type="parTrans" cxnId="{5B7C1D43-6B61-482E-9C07-149B8DF5756E}">
      <dgm:prSet/>
      <dgm:spPr/>
      <dgm:t>
        <a:bodyPr/>
        <a:lstStyle/>
        <a:p>
          <a:endParaRPr lang="en-US"/>
        </a:p>
      </dgm:t>
    </dgm:pt>
    <dgm:pt modelId="{5F7D96B3-110C-4F7C-B8CB-1141D4C980F8}" type="sibTrans" cxnId="{5B7C1D43-6B61-482E-9C07-149B8DF5756E}">
      <dgm:prSet/>
      <dgm:spPr/>
      <dgm:t>
        <a:bodyPr/>
        <a:lstStyle/>
        <a:p>
          <a:endParaRPr lang="en-US"/>
        </a:p>
      </dgm:t>
    </dgm:pt>
    <dgm:pt modelId="{51A28262-7804-425A-8822-CCB8AB9DDCB3}">
      <dgm:prSet phldrT="[Text]"/>
      <dgm:spPr/>
      <dgm:t>
        <a:bodyPr/>
        <a:lstStyle/>
        <a:p>
          <a:pPr rtl="0"/>
          <a:r>
            <a:rPr lang="en-US" b="1" dirty="0">
              <a:latin typeface="+mn-lt"/>
            </a:rPr>
            <a:t>Near Interstate, Highway Route, and Airport Access</a:t>
          </a:r>
        </a:p>
        <a:p>
          <a:endParaRPr lang="en-US" dirty="0"/>
        </a:p>
      </dgm:t>
    </dgm:pt>
    <dgm:pt modelId="{8B67FC20-AD61-4C33-9168-D7CA37BFAC34}" type="parTrans" cxnId="{AD7909B2-293A-4B03-B112-EAC79C10749D}">
      <dgm:prSet/>
      <dgm:spPr/>
      <dgm:t>
        <a:bodyPr/>
        <a:lstStyle/>
        <a:p>
          <a:endParaRPr lang="en-US"/>
        </a:p>
      </dgm:t>
    </dgm:pt>
    <dgm:pt modelId="{5A0BB245-2702-4F48-B5DE-DBE9CA6EC5DA}" type="sibTrans" cxnId="{AD7909B2-293A-4B03-B112-EAC79C10749D}">
      <dgm:prSet/>
      <dgm:spPr/>
      <dgm:t>
        <a:bodyPr/>
        <a:lstStyle/>
        <a:p>
          <a:endParaRPr lang="en-US"/>
        </a:p>
      </dgm:t>
    </dgm:pt>
    <dgm:pt modelId="{01B9C4D7-6135-4EFA-B8DA-2C506A43AC51}">
      <dgm:prSet phldr="0"/>
      <dgm:spPr/>
      <dgm:t>
        <a:bodyPr/>
        <a:lstStyle/>
        <a:p>
          <a:pPr rtl="0"/>
          <a:r>
            <a:rPr lang="en-US" b="1">
              <a:latin typeface="+mn-lt"/>
            </a:rPr>
            <a:t>Near other major businesses, hotel chains, and restaurants</a:t>
          </a:r>
        </a:p>
      </dgm:t>
    </dgm:pt>
    <dgm:pt modelId="{FA17387D-3D1B-45EF-B591-EF613728CE69}" type="parTrans" cxnId="{31FA0344-BD02-46E4-A688-F0399E3F5FB0}">
      <dgm:prSet/>
      <dgm:spPr/>
      <dgm:t>
        <a:bodyPr/>
        <a:lstStyle/>
        <a:p>
          <a:endParaRPr lang="en-US"/>
        </a:p>
      </dgm:t>
    </dgm:pt>
    <dgm:pt modelId="{FAD473CA-F45C-4D68-840E-30889F7DC9C4}" type="sibTrans" cxnId="{31FA0344-BD02-46E4-A688-F0399E3F5FB0}">
      <dgm:prSet/>
      <dgm:spPr/>
      <dgm:t>
        <a:bodyPr/>
        <a:lstStyle/>
        <a:p>
          <a:endParaRPr lang="en-US"/>
        </a:p>
      </dgm:t>
    </dgm:pt>
    <dgm:pt modelId="{EA3030D7-27A9-4983-A81D-4C86B21460DA}">
      <dgm:prSet phldr="0"/>
      <dgm:spPr/>
      <dgm:t>
        <a:bodyPr/>
        <a:lstStyle/>
        <a:p>
          <a:pPr rtl="0"/>
          <a:r>
            <a:rPr lang="en-US" b="1">
              <a:latin typeface="+mn-lt"/>
            </a:rPr>
            <a:t>Inner City Pittsburgh, PA</a:t>
          </a:r>
        </a:p>
      </dgm:t>
    </dgm:pt>
    <dgm:pt modelId="{31ACA8AA-2118-440D-920A-D9E2D90D929B}" type="parTrans" cxnId="{DDE8A335-949B-4209-AB3E-0427ACD593F5}">
      <dgm:prSet/>
      <dgm:spPr/>
      <dgm:t>
        <a:bodyPr/>
        <a:lstStyle/>
        <a:p>
          <a:endParaRPr lang="en-US"/>
        </a:p>
      </dgm:t>
    </dgm:pt>
    <dgm:pt modelId="{FC0FB9D2-CA37-4063-81B2-A082071331C6}" type="sibTrans" cxnId="{DDE8A335-949B-4209-AB3E-0427ACD593F5}">
      <dgm:prSet/>
      <dgm:spPr/>
      <dgm:t>
        <a:bodyPr/>
        <a:lstStyle/>
        <a:p>
          <a:endParaRPr lang="en-US"/>
        </a:p>
      </dgm:t>
    </dgm:pt>
    <dgm:pt modelId="{F16F0CDB-C351-487A-BDA9-56506C4DC820}">
      <dgm:prSet phldr="0"/>
      <dgm:spPr/>
      <dgm:t>
        <a:bodyPr/>
        <a:lstStyle/>
        <a:p>
          <a:pPr rtl="0"/>
          <a:r>
            <a:rPr lang="en-US" b="1" dirty="0">
              <a:latin typeface="+mn-lt"/>
            </a:rPr>
            <a:t>Assumption: Existing building that needs construction work</a:t>
          </a:r>
        </a:p>
      </dgm:t>
    </dgm:pt>
    <dgm:pt modelId="{1AEDEC77-2A16-4569-984D-19845A885CD8}" type="parTrans" cxnId="{AEB88C99-9F12-4A4F-B0CE-F7492B3717D5}">
      <dgm:prSet/>
      <dgm:spPr/>
      <dgm:t>
        <a:bodyPr/>
        <a:lstStyle/>
        <a:p>
          <a:endParaRPr lang="en-US"/>
        </a:p>
      </dgm:t>
    </dgm:pt>
    <dgm:pt modelId="{F9212544-FE1C-439A-8EA3-09F2BFFB56CF}" type="sibTrans" cxnId="{AEB88C99-9F12-4A4F-B0CE-F7492B3717D5}">
      <dgm:prSet/>
      <dgm:spPr/>
      <dgm:t>
        <a:bodyPr/>
        <a:lstStyle/>
        <a:p>
          <a:endParaRPr lang="en-US"/>
        </a:p>
      </dgm:t>
    </dgm:pt>
    <dgm:pt modelId="{FFE44E1D-2749-455D-AD74-638B59ADCA17}" type="pres">
      <dgm:prSet presAssocID="{E2502113-8E10-4D72-B700-F65F808AD33A}" presName="linear" presStyleCnt="0">
        <dgm:presLayoutVars>
          <dgm:dir/>
          <dgm:resizeHandles val="exact"/>
        </dgm:presLayoutVars>
      </dgm:prSet>
      <dgm:spPr/>
    </dgm:pt>
    <dgm:pt modelId="{75D92236-A42C-4B7B-AEDE-4E2CB0479DAF}" type="pres">
      <dgm:prSet presAssocID="{D33A955E-1811-41C9-BB00-996228EE7DB1}" presName="comp" presStyleCnt="0"/>
      <dgm:spPr/>
    </dgm:pt>
    <dgm:pt modelId="{DDD52CF4-572E-45D3-8AEE-A47395EF3E5C}" type="pres">
      <dgm:prSet presAssocID="{D33A955E-1811-41C9-BB00-996228EE7DB1}" presName="box" presStyleLbl="node1" presStyleIdx="0" presStyleCnt="3"/>
      <dgm:spPr/>
    </dgm:pt>
    <dgm:pt modelId="{6D497ABA-D057-4FE3-9397-B5DE0509F3C8}" type="pres">
      <dgm:prSet presAssocID="{D33A955E-1811-41C9-BB00-996228EE7DB1}" presName="img" presStyleLbl="fgImgPlace1" presStyleIdx="0" presStyleCnt="3"/>
      <dgm:spPr>
        <a:blipFill dpi="0" rotWithShape="1">
          <a:blip xmlns:r="http://schemas.openxmlformats.org/officeDocument/2006/relationships" r:embed="rId1"/>
          <a:srcRect/>
          <a:stretch>
            <a:fillRect t="-78301" b="-35001"/>
          </a:stretch>
        </a:blipFill>
      </dgm:spPr>
    </dgm:pt>
    <dgm:pt modelId="{73BAE4D5-A8AB-4B8F-91C4-D9B051148396}" type="pres">
      <dgm:prSet presAssocID="{D33A955E-1811-41C9-BB00-996228EE7DB1}" presName="text" presStyleLbl="node1" presStyleIdx="0" presStyleCnt="3">
        <dgm:presLayoutVars>
          <dgm:bulletEnabled val="1"/>
        </dgm:presLayoutVars>
      </dgm:prSet>
      <dgm:spPr/>
    </dgm:pt>
    <dgm:pt modelId="{9E3D312D-7B21-47B9-95C9-2EA29512CC22}" type="pres">
      <dgm:prSet presAssocID="{BB2D49F6-207D-4207-895A-3155CE4D06EC}" presName="spacer" presStyleCnt="0"/>
      <dgm:spPr/>
    </dgm:pt>
    <dgm:pt modelId="{3156A65A-FC05-48DF-95AA-57E7A5DD0957}" type="pres">
      <dgm:prSet presAssocID="{EA3030D7-27A9-4983-A81D-4C86B21460DA}" presName="comp" presStyleCnt="0"/>
      <dgm:spPr/>
    </dgm:pt>
    <dgm:pt modelId="{8AE8C086-E68A-473B-8AD6-0EBDD0E29BFA}" type="pres">
      <dgm:prSet presAssocID="{EA3030D7-27A9-4983-A81D-4C86B21460DA}" presName="box" presStyleLbl="node1" presStyleIdx="1" presStyleCnt="3"/>
      <dgm:spPr/>
    </dgm:pt>
    <dgm:pt modelId="{92486430-6771-498B-A758-28F258A9DD9B}" type="pres">
      <dgm:prSet presAssocID="{EA3030D7-27A9-4983-A81D-4C86B21460DA}" presName="img" presStyleLbl="fgImgPlace1" presStyleIdx="1" presStyleCnt="3"/>
      <dgm:spPr>
        <a:blipFill rotWithShape="1">
          <a:blip xmlns:r="http://schemas.openxmlformats.org/officeDocument/2006/relationships" r:embed="rId2"/>
          <a:srcRect/>
          <a:stretch>
            <a:fillRect t="-9000" b="-9000"/>
          </a:stretch>
        </a:blipFill>
      </dgm:spPr>
    </dgm:pt>
    <dgm:pt modelId="{47077BB2-2401-4EB9-9884-11F8DDF96964}" type="pres">
      <dgm:prSet presAssocID="{EA3030D7-27A9-4983-A81D-4C86B21460DA}" presName="text" presStyleLbl="node1" presStyleIdx="1" presStyleCnt="3">
        <dgm:presLayoutVars>
          <dgm:bulletEnabled val="1"/>
        </dgm:presLayoutVars>
      </dgm:prSet>
      <dgm:spPr/>
    </dgm:pt>
    <dgm:pt modelId="{3713A227-6A09-4494-B8D5-3867BB737D80}" type="pres">
      <dgm:prSet presAssocID="{FC0FB9D2-CA37-4063-81B2-A082071331C6}" presName="spacer" presStyleCnt="0"/>
      <dgm:spPr/>
    </dgm:pt>
    <dgm:pt modelId="{28B098BD-BCD5-4FA4-AA66-79DA8AC5BA17}" type="pres">
      <dgm:prSet presAssocID="{AE8D5E53-C4B8-4379-A605-7BC40FF7B8BF}" presName="comp" presStyleCnt="0"/>
      <dgm:spPr/>
    </dgm:pt>
    <dgm:pt modelId="{AC34CD26-8FBF-45E0-A528-82BDB4ABDCFB}" type="pres">
      <dgm:prSet presAssocID="{AE8D5E53-C4B8-4379-A605-7BC40FF7B8BF}" presName="box" presStyleLbl="node1" presStyleIdx="2" presStyleCnt="3"/>
      <dgm:spPr/>
    </dgm:pt>
    <dgm:pt modelId="{691298BC-288B-43F6-B652-A43EEA1A4736}" type="pres">
      <dgm:prSet presAssocID="{AE8D5E53-C4B8-4379-A605-7BC40FF7B8BF}" presName="img" presStyleLbl="fgImgPlace1" presStyleIdx="2" presStyleCnt="3"/>
      <dgm:spPr>
        <a:blipFill rotWithShape="1">
          <a:blip xmlns:r="http://schemas.openxmlformats.org/officeDocument/2006/relationships" r:embed="rId3"/>
          <a:srcRect/>
          <a:stretch>
            <a:fillRect t="-35000" b="-35000"/>
          </a:stretch>
        </a:blipFill>
      </dgm:spPr>
    </dgm:pt>
    <dgm:pt modelId="{EB3671DF-0F72-4662-974E-DBFFC306D09C}" type="pres">
      <dgm:prSet presAssocID="{AE8D5E53-C4B8-4379-A605-7BC40FF7B8BF}" presName="text" presStyleLbl="node1" presStyleIdx="2" presStyleCnt="3">
        <dgm:presLayoutVars>
          <dgm:bulletEnabled val="1"/>
        </dgm:presLayoutVars>
      </dgm:prSet>
      <dgm:spPr/>
    </dgm:pt>
  </dgm:ptLst>
  <dgm:cxnLst>
    <dgm:cxn modelId="{E29C2C09-92ED-40B0-92F0-B44F038E12C2}" type="presOf" srcId="{F608B617-989E-4E71-800E-7D4A6E617859}" destId="{73BAE4D5-A8AB-4B8F-91C4-D9B051148396}" srcOrd="1" destOrd="1" presId="urn:microsoft.com/office/officeart/2005/8/layout/vList4"/>
    <dgm:cxn modelId="{B3FDA910-78FC-42AE-BF43-5B534F6BFD65}" type="presOf" srcId="{F16F0CDB-C351-487A-BDA9-56506C4DC820}" destId="{EB3671DF-0F72-4662-974E-DBFFC306D09C}" srcOrd="1" destOrd="1" presId="urn:microsoft.com/office/officeart/2005/8/layout/vList4"/>
    <dgm:cxn modelId="{F923F231-CB6D-4B28-9B2B-6A79D736637E}" type="presOf" srcId="{D33A955E-1811-41C9-BB00-996228EE7DB1}" destId="{73BAE4D5-A8AB-4B8F-91C4-D9B051148396}" srcOrd="1" destOrd="0" presId="urn:microsoft.com/office/officeart/2005/8/layout/vList4"/>
    <dgm:cxn modelId="{DDE8A335-949B-4209-AB3E-0427ACD593F5}" srcId="{E2502113-8E10-4D72-B700-F65F808AD33A}" destId="{EA3030D7-27A9-4983-A81D-4C86B21460DA}" srcOrd="1" destOrd="0" parTransId="{31ACA8AA-2118-440D-920A-D9E2D90D929B}" sibTransId="{FC0FB9D2-CA37-4063-81B2-A082071331C6}"/>
    <dgm:cxn modelId="{5B7C1D43-6B61-482E-9C07-149B8DF5756E}" srcId="{E2502113-8E10-4D72-B700-F65F808AD33A}" destId="{AE8D5E53-C4B8-4379-A605-7BC40FF7B8BF}" srcOrd="2" destOrd="0" parTransId="{D5E004F2-2AC1-4B09-A30A-95E66A8F87EC}" sibTransId="{5F7D96B3-110C-4F7C-B8CB-1141D4C980F8}"/>
    <dgm:cxn modelId="{31FA0344-BD02-46E4-A688-F0399E3F5FB0}" srcId="{D33A955E-1811-41C9-BB00-996228EE7DB1}" destId="{01B9C4D7-6135-4EFA-B8DA-2C506A43AC51}" srcOrd="1" destOrd="0" parTransId="{FA17387D-3D1B-45EF-B591-EF613728CE69}" sibTransId="{FAD473CA-F45C-4D68-840E-30889F7DC9C4}"/>
    <dgm:cxn modelId="{44C56A64-564F-46B1-BEB1-0B46A3C71739}" type="presOf" srcId="{EA3030D7-27A9-4983-A81D-4C86B21460DA}" destId="{47077BB2-2401-4EB9-9884-11F8DDF96964}" srcOrd="1" destOrd="0" presId="urn:microsoft.com/office/officeart/2005/8/layout/vList4"/>
    <dgm:cxn modelId="{0EE9B965-55E5-4888-80E8-5350A914FA0D}" srcId="{EA3030D7-27A9-4983-A81D-4C86B21460DA}" destId="{FC3F1845-82B1-4639-9C99-6E5706E4FC17}" srcOrd="1" destOrd="0" parTransId="{64364179-3E30-46A2-9BD2-07B72CCF832C}" sibTransId="{201AEE4D-A13F-4D4E-8824-6D2F33C2C784}"/>
    <dgm:cxn modelId="{02E5CD48-BA3F-42FF-BBF0-EE20C75FB626}" type="presOf" srcId="{E2502113-8E10-4D72-B700-F65F808AD33A}" destId="{FFE44E1D-2749-455D-AD74-638B59ADCA17}" srcOrd="0" destOrd="0" presId="urn:microsoft.com/office/officeart/2005/8/layout/vList4"/>
    <dgm:cxn modelId="{0C84C06C-5B74-43C7-93FC-92DA759958B0}" type="presOf" srcId="{51A28262-7804-425A-8822-CCB8AB9DDCB3}" destId="{AC34CD26-8FBF-45E0-A528-82BDB4ABDCFB}" srcOrd="0" destOrd="2" presId="urn:microsoft.com/office/officeart/2005/8/layout/vList4"/>
    <dgm:cxn modelId="{888D8E6D-C645-4708-92BC-41FBCA058C77}" type="presOf" srcId="{F16F0CDB-C351-487A-BDA9-56506C4DC820}" destId="{AC34CD26-8FBF-45E0-A528-82BDB4ABDCFB}" srcOrd="0" destOrd="1" presId="urn:microsoft.com/office/officeart/2005/8/layout/vList4"/>
    <dgm:cxn modelId="{DA75086E-AF22-498F-83D1-5506CC234355}" srcId="{EA3030D7-27A9-4983-A81D-4C86B21460DA}" destId="{094E7B82-C96E-4DD4-BE27-A6327B87D25C}" srcOrd="0" destOrd="0" parTransId="{433850E7-738C-443F-8CDB-5A05B92B57B7}" sibTransId="{2862DD58-41B4-4650-BED3-229601386503}"/>
    <dgm:cxn modelId="{10D61770-0CA3-461A-AF5B-214A570A3E0E}" type="presOf" srcId="{AE8D5E53-C4B8-4379-A605-7BC40FF7B8BF}" destId="{AC34CD26-8FBF-45E0-A528-82BDB4ABDCFB}" srcOrd="0" destOrd="0" presId="urn:microsoft.com/office/officeart/2005/8/layout/vList4"/>
    <dgm:cxn modelId="{78A1DC93-9726-4786-B4DF-F26890B58B3F}" type="presOf" srcId="{EA3030D7-27A9-4983-A81D-4C86B21460DA}" destId="{8AE8C086-E68A-473B-8AD6-0EBDD0E29BFA}" srcOrd="0" destOrd="0" presId="urn:microsoft.com/office/officeart/2005/8/layout/vList4"/>
    <dgm:cxn modelId="{AEB88C99-9F12-4A4F-B0CE-F7492B3717D5}" srcId="{AE8D5E53-C4B8-4379-A605-7BC40FF7B8BF}" destId="{F16F0CDB-C351-487A-BDA9-56506C4DC820}" srcOrd="0" destOrd="0" parTransId="{1AEDEC77-2A16-4569-984D-19845A885CD8}" sibTransId="{F9212544-FE1C-439A-8EA3-09F2BFFB56CF}"/>
    <dgm:cxn modelId="{E4A2589C-AAB9-4B11-BC80-B83E6DF75765}" type="presOf" srcId="{01B9C4D7-6135-4EFA-B8DA-2C506A43AC51}" destId="{DDD52CF4-572E-45D3-8AEE-A47395EF3E5C}" srcOrd="0" destOrd="2" presId="urn:microsoft.com/office/officeart/2005/8/layout/vList4"/>
    <dgm:cxn modelId="{AD7909B2-293A-4B03-B112-EAC79C10749D}" srcId="{AE8D5E53-C4B8-4379-A605-7BC40FF7B8BF}" destId="{51A28262-7804-425A-8822-CCB8AB9DDCB3}" srcOrd="1" destOrd="0" parTransId="{8B67FC20-AD61-4C33-9168-D7CA37BFAC34}" sibTransId="{5A0BB245-2702-4F48-B5DE-DBE9CA6EC5DA}"/>
    <dgm:cxn modelId="{B1B94AB3-60D0-4B1E-934C-59CED02A9F21}" type="presOf" srcId="{F608B617-989E-4E71-800E-7D4A6E617859}" destId="{DDD52CF4-572E-45D3-8AEE-A47395EF3E5C}" srcOrd="0" destOrd="1" presId="urn:microsoft.com/office/officeart/2005/8/layout/vList4"/>
    <dgm:cxn modelId="{05788DB3-F38E-43FB-9818-58A61008A083}" type="presOf" srcId="{AE8D5E53-C4B8-4379-A605-7BC40FF7B8BF}" destId="{EB3671DF-0F72-4662-974E-DBFFC306D09C}" srcOrd="1" destOrd="0" presId="urn:microsoft.com/office/officeart/2005/8/layout/vList4"/>
    <dgm:cxn modelId="{52719BB5-1E5F-450B-96C4-360EAEB2759E}" srcId="{D33A955E-1811-41C9-BB00-996228EE7DB1}" destId="{F608B617-989E-4E71-800E-7D4A6E617859}" srcOrd="0" destOrd="0" parTransId="{C1E75EB8-0A09-40BB-97AD-24AEE574AF18}" sibTransId="{7BC61DE2-B097-45F7-A87C-DF548A6C5008}"/>
    <dgm:cxn modelId="{46B06BBA-ECCE-4F46-8736-D788EFEF54BE}" type="presOf" srcId="{094E7B82-C96E-4DD4-BE27-A6327B87D25C}" destId="{47077BB2-2401-4EB9-9884-11F8DDF96964}" srcOrd="1" destOrd="1" presId="urn:microsoft.com/office/officeart/2005/8/layout/vList4"/>
    <dgm:cxn modelId="{AACB2BBE-7C5B-4125-9617-76DF4EE7FC1E}" type="presOf" srcId="{094E7B82-C96E-4DD4-BE27-A6327B87D25C}" destId="{8AE8C086-E68A-473B-8AD6-0EBDD0E29BFA}" srcOrd="0" destOrd="1" presId="urn:microsoft.com/office/officeart/2005/8/layout/vList4"/>
    <dgm:cxn modelId="{1E87DAD5-8655-4062-A4CC-CA0EEE8600FB}" type="presOf" srcId="{01B9C4D7-6135-4EFA-B8DA-2C506A43AC51}" destId="{73BAE4D5-A8AB-4B8F-91C4-D9B051148396}" srcOrd="1" destOrd="2" presId="urn:microsoft.com/office/officeart/2005/8/layout/vList4"/>
    <dgm:cxn modelId="{899944DA-442D-4E00-BF5E-20F1020066AF}" srcId="{E2502113-8E10-4D72-B700-F65F808AD33A}" destId="{D33A955E-1811-41C9-BB00-996228EE7DB1}" srcOrd="0" destOrd="0" parTransId="{FB8154ED-7CC8-404C-882C-F1983F068DE1}" sibTransId="{BB2D49F6-207D-4207-895A-3155CE4D06EC}"/>
    <dgm:cxn modelId="{0815C4E3-1B40-496E-91DD-4EB0938543C0}" type="presOf" srcId="{51A28262-7804-425A-8822-CCB8AB9DDCB3}" destId="{EB3671DF-0F72-4662-974E-DBFFC306D09C}" srcOrd="1" destOrd="2" presId="urn:microsoft.com/office/officeart/2005/8/layout/vList4"/>
    <dgm:cxn modelId="{487AE4E3-1023-4F52-AE7B-8148BAECF230}" type="presOf" srcId="{FC3F1845-82B1-4639-9C99-6E5706E4FC17}" destId="{47077BB2-2401-4EB9-9884-11F8DDF96964}" srcOrd="1" destOrd="2" presId="urn:microsoft.com/office/officeart/2005/8/layout/vList4"/>
    <dgm:cxn modelId="{B56AFCE9-FD31-4BE5-AEBE-8C8B2F0C4FAA}" type="presOf" srcId="{FC3F1845-82B1-4639-9C99-6E5706E4FC17}" destId="{8AE8C086-E68A-473B-8AD6-0EBDD0E29BFA}" srcOrd="0" destOrd="2" presId="urn:microsoft.com/office/officeart/2005/8/layout/vList4"/>
    <dgm:cxn modelId="{B7264DFB-AC98-4305-9E6E-308E521064B1}" type="presOf" srcId="{D33A955E-1811-41C9-BB00-996228EE7DB1}" destId="{DDD52CF4-572E-45D3-8AEE-A47395EF3E5C}" srcOrd="0" destOrd="0" presId="urn:microsoft.com/office/officeart/2005/8/layout/vList4"/>
    <dgm:cxn modelId="{300DE62E-806E-4E2F-8249-2B86CE44C05D}" type="presParOf" srcId="{FFE44E1D-2749-455D-AD74-638B59ADCA17}" destId="{75D92236-A42C-4B7B-AEDE-4E2CB0479DAF}" srcOrd="0" destOrd="0" presId="urn:microsoft.com/office/officeart/2005/8/layout/vList4"/>
    <dgm:cxn modelId="{E331FFB6-63BF-4229-8F60-19379B302950}" type="presParOf" srcId="{75D92236-A42C-4B7B-AEDE-4E2CB0479DAF}" destId="{DDD52CF4-572E-45D3-8AEE-A47395EF3E5C}" srcOrd="0" destOrd="0" presId="urn:microsoft.com/office/officeart/2005/8/layout/vList4"/>
    <dgm:cxn modelId="{A70F8EBB-5E66-4BE9-A9CF-1423B14CF74D}" type="presParOf" srcId="{75D92236-A42C-4B7B-AEDE-4E2CB0479DAF}" destId="{6D497ABA-D057-4FE3-9397-B5DE0509F3C8}" srcOrd="1" destOrd="0" presId="urn:microsoft.com/office/officeart/2005/8/layout/vList4"/>
    <dgm:cxn modelId="{A7F68D00-7AAB-4ECD-8374-99D0A2CFD78D}" type="presParOf" srcId="{75D92236-A42C-4B7B-AEDE-4E2CB0479DAF}" destId="{73BAE4D5-A8AB-4B8F-91C4-D9B051148396}" srcOrd="2" destOrd="0" presId="urn:microsoft.com/office/officeart/2005/8/layout/vList4"/>
    <dgm:cxn modelId="{81F9C6E0-6EAD-4AEB-859F-A75990723688}" type="presParOf" srcId="{FFE44E1D-2749-455D-AD74-638B59ADCA17}" destId="{9E3D312D-7B21-47B9-95C9-2EA29512CC22}" srcOrd="1" destOrd="0" presId="urn:microsoft.com/office/officeart/2005/8/layout/vList4"/>
    <dgm:cxn modelId="{178F74FE-8BF6-4C0F-A30A-169B3595CB9D}" type="presParOf" srcId="{FFE44E1D-2749-455D-AD74-638B59ADCA17}" destId="{3156A65A-FC05-48DF-95AA-57E7A5DD0957}" srcOrd="2" destOrd="0" presId="urn:microsoft.com/office/officeart/2005/8/layout/vList4"/>
    <dgm:cxn modelId="{70858BBB-526F-4569-9EF7-E3E2976021D7}" type="presParOf" srcId="{3156A65A-FC05-48DF-95AA-57E7A5DD0957}" destId="{8AE8C086-E68A-473B-8AD6-0EBDD0E29BFA}" srcOrd="0" destOrd="0" presId="urn:microsoft.com/office/officeart/2005/8/layout/vList4"/>
    <dgm:cxn modelId="{15A7E89C-8956-443F-BEC5-4591C1780378}" type="presParOf" srcId="{3156A65A-FC05-48DF-95AA-57E7A5DD0957}" destId="{92486430-6771-498B-A758-28F258A9DD9B}" srcOrd="1" destOrd="0" presId="urn:microsoft.com/office/officeart/2005/8/layout/vList4"/>
    <dgm:cxn modelId="{35030740-DE80-4B62-8A22-307C44E37283}" type="presParOf" srcId="{3156A65A-FC05-48DF-95AA-57E7A5DD0957}" destId="{47077BB2-2401-4EB9-9884-11F8DDF96964}" srcOrd="2" destOrd="0" presId="urn:microsoft.com/office/officeart/2005/8/layout/vList4"/>
    <dgm:cxn modelId="{E78CE75F-C654-49FA-8C57-4A20DB310F5D}" type="presParOf" srcId="{FFE44E1D-2749-455D-AD74-638B59ADCA17}" destId="{3713A227-6A09-4494-B8D5-3867BB737D80}" srcOrd="3" destOrd="0" presId="urn:microsoft.com/office/officeart/2005/8/layout/vList4"/>
    <dgm:cxn modelId="{FC4E7B5C-060D-4C6E-888E-E18F6EBE8F01}" type="presParOf" srcId="{FFE44E1D-2749-455D-AD74-638B59ADCA17}" destId="{28B098BD-BCD5-4FA4-AA66-79DA8AC5BA17}" srcOrd="4" destOrd="0" presId="urn:microsoft.com/office/officeart/2005/8/layout/vList4"/>
    <dgm:cxn modelId="{0085B3BE-B1F7-4674-8E3A-DC4A42BFCA35}" type="presParOf" srcId="{28B098BD-BCD5-4FA4-AA66-79DA8AC5BA17}" destId="{AC34CD26-8FBF-45E0-A528-82BDB4ABDCFB}" srcOrd="0" destOrd="0" presId="urn:microsoft.com/office/officeart/2005/8/layout/vList4"/>
    <dgm:cxn modelId="{D210A19E-FBF3-43D7-9022-2CE211132190}" type="presParOf" srcId="{28B098BD-BCD5-4FA4-AA66-79DA8AC5BA17}" destId="{691298BC-288B-43F6-B652-A43EEA1A4736}" srcOrd="1" destOrd="0" presId="urn:microsoft.com/office/officeart/2005/8/layout/vList4"/>
    <dgm:cxn modelId="{C02AE938-FACD-45FE-9085-5C74FD24F1B7}" type="presParOf" srcId="{28B098BD-BCD5-4FA4-AA66-79DA8AC5BA17}" destId="{EB3671DF-0F72-4662-974E-DBFFC306D09C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8C1957-FB09-4B77-8163-DC247D6E9115}">
      <dsp:nvSpPr>
        <dsp:cNvPr id="0" name=""/>
        <dsp:cNvSpPr/>
      </dsp:nvSpPr>
      <dsp:spPr>
        <a:xfrm>
          <a:off x="0" y="38484"/>
          <a:ext cx="10515600" cy="6475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Background Info &amp; Process Description</a:t>
          </a:r>
        </a:p>
      </dsp:txBody>
      <dsp:txXfrm>
        <a:off x="31613" y="70097"/>
        <a:ext cx="10452374" cy="584369"/>
      </dsp:txXfrm>
    </dsp:sp>
    <dsp:sp modelId="{D19E6EAB-A7FC-42D9-B6DE-B48A296EA554}">
      <dsp:nvSpPr>
        <dsp:cNvPr id="0" name=""/>
        <dsp:cNvSpPr/>
      </dsp:nvSpPr>
      <dsp:spPr>
        <a:xfrm>
          <a:off x="0" y="763839"/>
          <a:ext cx="10515600" cy="6475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Strategic Criteria</a:t>
          </a:r>
        </a:p>
      </dsp:txBody>
      <dsp:txXfrm>
        <a:off x="31613" y="795452"/>
        <a:ext cx="10452374" cy="584369"/>
      </dsp:txXfrm>
    </dsp:sp>
    <dsp:sp modelId="{5C8ADD88-BE0B-4D2A-A15B-5A7015316D79}">
      <dsp:nvSpPr>
        <dsp:cNvPr id="0" name=""/>
        <dsp:cNvSpPr/>
      </dsp:nvSpPr>
      <dsp:spPr>
        <a:xfrm>
          <a:off x="0" y="1489194"/>
          <a:ext cx="10515600" cy="6475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Alternatives &amp; Assumptions</a:t>
          </a:r>
        </a:p>
      </dsp:txBody>
      <dsp:txXfrm>
        <a:off x="31613" y="1520807"/>
        <a:ext cx="10452374" cy="584369"/>
      </dsp:txXfrm>
    </dsp:sp>
    <dsp:sp modelId="{22F9A931-B54F-4749-95EA-589AE90287FA}">
      <dsp:nvSpPr>
        <dsp:cNvPr id="0" name=""/>
        <dsp:cNvSpPr/>
      </dsp:nvSpPr>
      <dsp:spPr>
        <a:xfrm>
          <a:off x="0" y="2214549"/>
          <a:ext cx="10515600" cy="6475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Control Criteria &amp; Bottom Level Factors</a:t>
          </a:r>
        </a:p>
      </dsp:txBody>
      <dsp:txXfrm>
        <a:off x="31613" y="2246162"/>
        <a:ext cx="10452374" cy="584369"/>
      </dsp:txXfrm>
    </dsp:sp>
    <dsp:sp modelId="{804C9ED4-7225-4637-85F3-871651806B6E}">
      <dsp:nvSpPr>
        <dsp:cNvPr id="0" name=""/>
        <dsp:cNvSpPr/>
      </dsp:nvSpPr>
      <dsp:spPr>
        <a:xfrm>
          <a:off x="0" y="2939904"/>
          <a:ext cx="10515600" cy="6475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Results &amp; Sensitivity Analysis</a:t>
          </a:r>
        </a:p>
      </dsp:txBody>
      <dsp:txXfrm>
        <a:off x="31613" y="2971517"/>
        <a:ext cx="10452374" cy="584369"/>
      </dsp:txXfrm>
    </dsp:sp>
    <dsp:sp modelId="{1B416C15-4805-4A75-A7AD-8ABB46CFA792}">
      <dsp:nvSpPr>
        <dsp:cNvPr id="0" name=""/>
        <dsp:cNvSpPr/>
      </dsp:nvSpPr>
      <dsp:spPr>
        <a:xfrm>
          <a:off x="0" y="3665259"/>
          <a:ext cx="10515600" cy="6475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Conclusion</a:t>
          </a:r>
        </a:p>
      </dsp:txBody>
      <dsp:txXfrm>
        <a:off x="31613" y="3696872"/>
        <a:ext cx="10452374" cy="5843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8552E1-5BF0-415C-90E1-09A76E308A7C}">
      <dsp:nvSpPr>
        <dsp:cNvPr id="0" name=""/>
        <dsp:cNvSpPr/>
      </dsp:nvSpPr>
      <dsp:spPr>
        <a:xfrm>
          <a:off x="3821611" y="3270555"/>
          <a:ext cx="2261684" cy="226168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Core Values</a:t>
          </a:r>
        </a:p>
      </dsp:txBody>
      <dsp:txXfrm>
        <a:off x="4152827" y="3601771"/>
        <a:ext cx="1599252" cy="1599252"/>
      </dsp:txXfrm>
    </dsp:sp>
    <dsp:sp modelId="{07EA7ECA-2FC6-4FF2-97F8-0E3325761A61}">
      <dsp:nvSpPr>
        <dsp:cNvPr id="0" name=""/>
        <dsp:cNvSpPr/>
      </dsp:nvSpPr>
      <dsp:spPr>
        <a:xfrm rot="10800000">
          <a:off x="1184818" y="4079108"/>
          <a:ext cx="2491769" cy="64458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B4054A-2892-427F-81AE-F72728C74541}">
      <dsp:nvSpPr>
        <dsp:cNvPr id="0" name=""/>
        <dsp:cNvSpPr/>
      </dsp:nvSpPr>
      <dsp:spPr>
        <a:xfrm>
          <a:off x="393228" y="3768126"/>
          <a:ext cx="1583179" cy="12665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+mn-lt"/>
            </a:rPr>
            <a:t>Integrity</a:t>
          </a:r>
        </a:p>
      </dsp:txBody>
      <dsp:txXfrm>
        <a:off x="430324" y="3805222"/>
        <a:ext cx="1508987" cy="1192351"/>
      </dsp:txXfrm>
    </dsp:sp>
    <dsp:sp modelId="{741DDCF4-19BB-46FE-9936-611C7D570DA1}">
      <dsp:nvSpPr>
        <dsp:cNvPr id="0" name=""/>
        <dsp:cNvSpPr/>
      </dsp:nvSpPr>
      <dsp:spPr>
        <a:xfrm rot="12600000">
          <a:off x="1522668" y="2818232"/>
          <a:ext cx="2491769" cy="64458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73A48D-BD1D-4252-87FE-2FEDCCA83026}">
      <dsp:nvSpPr>
        <dsp:cNvPr id="0" name=""/>
        <dsp:cNvSpPr/>
      </dsp:nvSpPr>
      <dsp:spPr>
        <a:xfrm>
          <a:off x="897995" y="1884308"/>
          <a:ext cx="1583179" cy="12665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+mn-lt"/>
            </a:rPr>
            <a:t>Safety &amp; Quality</a:t>
          </a:r>
        </a:p>
      </dsp:txBody>
      <dsp:txXfrm>
        <a:off x="935091" y="1921404"/>
        <a:ext cx="1508987" cy="1192351"/>
      </dsp:txXfrm>
    </dsp:sp>
    <dsp:sp modelId="{1E62DC99-2A2C-40CF-9FFD-F4B16DAC2408}">
      <dsp:nvSpPr>
        <dsp:cNvPr id="0" name=""/>
        <dsp:cNvSpPr/>
      </dsp:nvSpPr>
      <dsp:spPr>
        <a:xfrm rot="14400000">
          <a:off x="2445693" y="1895208"/>
          <a:ext cx="2491769" cy="64458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D366A7-6AF5-47B9-8374-ADE0F163A99F}">
      <dsp:nvSpPr>
        <dsp:cNvPr id="0" name=""/>
        <dsp:cNvSpPr/>
      </dsp:nvSpPr>
      <dsp:spPr>
        <a:xfrm>
          <a:off x="2277046" y="505258"/>
          <a:ext cx="1583179" cy="1266543"/>
        </a:xfrm>
        <a:prstGeom prst="roundRect">
          <a:avLst>
            <a:gd name="adj" fmla="val 10000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  <a:latin typeface="+mn-lt"/>
            </a:rPr>
            <a:t>Support</a:t>
          </a:r>
          <a:r>
            <a:rPr lang="en-US" sz="2000" kern="1200" dirty="0">
              <a:latin typeface="+mn-lt"/>
            </a:rPr>
            <a:t> </a:t>
          </a:r>
          <a:r>
            <a:rPr lang="en-US" sz="2000" kern="1200" dirty="0">
              <a:solidFill>
                <a:schemeClr val="tx1"/>
              </a:solidFill>
              <a:latin typeface="+mn-lt"/>
            </a:rPr>
            <a:t>Our</a:t>
          </a:r>
          <a:r>
            <a:rPr lang="en-US" sz="2000" kern="1200" dirty="0">
              <a:latin typeface="+mn-lt"/>
            </a:rPr>
            <a:t> </a:t>
          </a:r>
          <a:r>
            <a:rPr lang="en-US" sz="2000" kern="1200" dirty="0">
              <a:solidFill>
                <a:schemeClr val="tx1"/>
              </a:solidFill>
              <a:latin typeface="+mn-lt"/>
            </a:rPr>
            <a:t>People</a:t>
          </a:r>
        </a:p>
      </dsp:txBody>
      <dsp:txXfrm>
        <a:off x="2314142" y="542354"/>
        <a:ext cx="1508987" cy="1192351"/>
      </dsp:txXfrm>
    </dsp:sp>
    <dsp:sp modelId="{488563CF-1D3A-4DE4-B21E-7BB44FFF06DF}">
      <dsp:nvSpPr>
        <dsp:cNvPr id="0" name=""/>
        <dsp:cNvSpPr/>
      </dsp:nvSpPr>
      <dsp:spPr>
        <a:xfrm rot="16200000">
          <a:off x="3706568" y="1557357"/>
          <a:ext cx="2491769" cy="64458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EB846B-FB6A-4255-A179-BE18ACBD474F}">
      <dsp:nvSpPr>
        <dsp:cNvPr id="0" name=""/>
        <dsp:cNvSpPr/>
      </dsp:nvSpPr>
      <dsp:spPr>
        <a:xfrm>
          <a:off x="4160863" y="491"/>
          <a:ext cx="1583179" cy="1266543"/>
        </a:xfrm>
        <a:prstGeom prst="roundRect">
          <a:avLst>
            <a:gd name="adj" fmla="val 10000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  <a:latin typeface="+mn-lt"/>
            </a:rPr>
            <a:t>Customer</a:t>
          </a:r>
          <a:r>
            <a:rPr lang="en-US" sz="2000" kern="1200" dirty="0">
              <a:latin typeface="+mn-lt"/>
            </a:rPr>
            <a:t> </a:t>
          </a:r>
          <a:r>
            <a:rPr lang="en-US" sz="2000" kern="1200" dirty="0">
              <a:solidFill>
                <a:schemeClr val="tx1"/>
              </a:solidFill>
              <a:latin typeface="+mn-lt"/>
            </a:rPr>
            <a:t>Focus</a:t>
          </a:r>
        </a:p>
      </dsp:txBody>
      <dsp:txXfrm>
        <a:off x="4197959" y="37587"/>
        <a:ext cx="1508987" cy="1192351"/>
      </dsp:txXfrm>
    </dsp:sp>
    <dsp:sp modelId="{93F46173-76D5-46DC-A62E-A9F5B97A9087}">
      <dsp:nvSpPr>
        <dsp:cNvPr id="0" name=""/>
        <dsp:cNvSpPr/>
      </dsp:nvSpPr>
      <dsp:spPr>
        <a:xfrm rot="18000000">
          <a:off x="4967444" y="1895208"/>
          <a:ext cx="2491769" cy="64458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42595A-E267-4639-99A0-66CB4FADAE9A}">
      <dsp:nvSpPr>
        <dsp:cNvPr id="0" name=""/>
        <dsp:cNvSpPr/>
      </dsp:nvSpPr>
      <dsp:spPr>
        <a:xfrm>
          <a:off x="6044681" y="505258"/>
          <a:ext cx="1583179" cy="12665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+mn-lt"/>
            </a:rPr>
            <a:t>Continuous Improvement</a:t>
          </a:r>
        </a:p>
      </dsp:txBody>
      <dsp:txXfrm>
        <a:off x="6081777" y="542354"/>
        <a:ext cx="1508987" cy="1192351"/>
      </dsp:txXfrm>
    </dsp:sp>
    <dsp:sp modelId="{56DF3E3D-995F-45F2-9B71-EF33C0DD64BF}">
      <dsp:nvSpPr>
        <dsp:cNvPr id="0" name=""/>
        <dsp:cNvSpPr/>
      </dsp:nvSpPr>
      <dsp:spPr>
        <a:xfrm rot="19800000">
          <a:off x="5890469" y="2818232"/>
          <a:ext cx="2491769" cy="64458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FE4819-0D86-4A9B-9CAD-833B4B88BF59}">
      <dsp:nvSpPr>
        <dsp:cNvPr id="0" name=""/>
        <dsp:cNvSpPr/>
      </dsp:nvSpPr>
      <dsp:spPr>
        <a:xfrm>
          <a:off x="7423731" y="1884308"/>
          <a:ext cx="1583179" cy="1266543"/>
        </a:xfrm>
        <a:prstGeom prst="roundRect">
          <a:avLst>
            <a:gd name="adj" fmla="val 10000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  <a:latin typeface="+mn-lt"/>
            </a:rPr>
            <a:t>Collaboration</a:t>
          </a:r>
        </a:p>
      </dsp:txBody>
      <dsp:txXfrm>
        <a:off x="7460827" y="1921404"/>
        <a:ext cx="1508987" cy="1192351"/>
      </dsp:txXfrm>
    </dsp:sp>
    <dsp:sp modelId="{F42DECB0-DDBA-4BCF-9312-133C16013B8D}">
      <dsp:nvSpPr>
        <dsp:cNvPr id="0" name=""/>
        <dsp:cNvSpPr/>
      </dsp:nvSpPr>
      <dsp:spPr>
        <a:xfrm>
          <a:off x="6228319" y="4079108"/>
          <a:ext cx="2491769" cy="64458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BF457B-8708-4225-B053-2CD09D68D0F6}">
      <dsp:nvSpPr>
        <dsp:cNvPr id="0" name=""/>
        <dsp:cNvSpPr/>
      </dsp:nvSpPr>
      <dsp:spPr>
        <a:xfrm>
          <a:off x="7928499" y="3768126"/>
          <a:ext cx="1583179" cy="1266543"/>
        </a:xfrm>
        <a:prstGeom prst="roundRect">
          <a:avLst>
            <a:gd name="adj" fmla="val 10000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  <a:latin typeface="+mn-lt"/>
            </a:rPr>
            <a:t>Innovation</a:t>
          </a:r>
        </a:p>
      </dsp:txBody>
      <dsp:txXfrm>
        <a:off x="7965595" y="3805222"/>
        <a:ext cx="1508987" cy="119235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D52CF4-572E-45D3-8AEE-A47395EF3E5C}">
      <dsp:nvSpPr>
        <dsp:cNvPr id="0" name=""/>
        <dsp:cNvSpPr/>
      </dsp:nvSpPr>
      <dsp:spPr>
        <a:xfrm>
          <a:off x="0" y="0"/>
          <a:ext cx="10515600" cy="15799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>
              <a:latin typeface="+mn-lt"/>
            </a:rPr>
            <a:t>Cranberry Township, PA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kern="1200">
              <a:latin typeface="+mn-lt"/>
            </a:rPr>
            <a:t>Assumption: Functioning facility needing upgrades</a:t>
          </a: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kern="1200">
              <a:latin typeface="+mn-lt"/>
            </a:rPr>
            <a:t>Near other major businesses, hotel chains, and restaurants</a:t>
          </a:r>
        </a:p>
      </dsp:txBody>
      <dsp:txXfrm>
        <a:off x="2261117" y="0"/>
        <a:ext cx="8254483" cy="1579970"/>
      </dsp:txXfrm>
    </dsp:sp>
    <dsp:sp modelId="{6D497ABA-D057-4FE3-9397-B5DE0509F3C8}">
      <dsp:nvSpPr>
        <dsp:cNvPr id="0" name=""/>
        <dsp:cNvSpPr/>
      </dsp:nvSpPr>
      <dsp:spPr>
        <a:xfrm>
          <a:off x="157997" y="157997"/>
          <a:ext cx="2103120" cy="1263976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1"/>
          <a:srcRect/>
          <a:stretch>
            <a:fillRect t="-78301" b="-35001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E8C086-E68A-473B-8AD6-0EBDD0E29BFA}">
      <dsp:nvSpPr>
        <dsp:cNvPr id="0" name=""/>
        <dsp:cNvSpPr/>
      </dsp:nvSpPr>
      <dsp:spPr>
        <a:xfrm>
          <a:off x="0" y="1737967"/>
          <a:ext cx="10515600" cy="15799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>
              <a:latin typeface="+mn-lt"/>
            </a:rPr>
            <a:t>Inner City Pittsburgh, PA</a:t>
          </a: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kern="1200">
              <a:latin typeface="+mn-lt"/>
            </a:rPr>
            <a:t>Assumption: Facility is fully functional and ready for use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kern="1200">
              <a:latin typeface="+mn-lt"/>
            </a:rPr>
            <a:t>Near other major businesses, multi-star hotels, and restaurants</a:t>
          </a:r>
        </a:p>
      </dsp:txBody>
      <dsp:txXfrm>
        <a:off x="2261117" y="1737967"/>
        <a:ext cx="8254483" cy="1579970"/>
      </dsp:txXfrm>
    </dsp:sp>
    <dsp:sp modelId="{92486430-6771-498B-A758-28F258A9DD9B}">
      <dsp:nvSpPr>
        <dsp:cNvPr id="0" name=""/>
        <dsp:cNvSpPr/>
      </dsp:nvSpPr>
      <dsp:spPr>
        <a:xfrm>
          <a:off x="157997" y="1895964"/>
          <a:ext cx="2103120" cy="1263976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rcRect/>
          <a:stretch>
            <a:fillRect t="-9000" b="-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34CD26-8FBF-45E0-A528-82BDB4ABDCFB}">
      <dsp:nvSpPr>
        <dsp:cNvPr id="0" name=""/>
        <dsp:cNvSpPr/>
      </dsp:nvSpPr>
      <dsp:spPr>
        <a:xfrm>
          <a:off x="0" y="3475934"/>
          <a:ext cx="10515600" cy="15799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+mn-lt"/>
            </a:rPr>
            <a:t>Canonsburg, PA</a:t>
          </a: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kern="1200" dirty="0">
              <a:latin typeface="+mn-lt"/>
            </a:rPr>
            <a:t>Assumption: Existing building that needs construction work</a:t>
          </a: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b="1" kern="1200" dirty="0">
              <a:latin typeface="+mn-lt"/>
            </a:rPr>
            <a:t>Near Interstate, Highway Route, and Airport Access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900" kern="1200" dirty="0"/>
        </a:p>
      </dsp:txBody>
      <dsp:txXfrm>
        <a:off x="2261117" y="3475934"/>
        <a:ext cx="8254483" cy="1579970"/>
      </dsp:txXfrm>
    </dsp:sp>
    <dsp:sp modelId="{691298BC-288B-43F6-B652-A43EEA1A4736}">
      <dsp:nvSpPr>
        <dsp:cNvPr id="0" name=""/>
        <dsp:cNvSpPr/>
      </dsp:nvSpPr>
      <dsp:spPr>
        <a:xfrm>
          <a:off x="157997" y="3633931"/>
          <a:ext cx="2103120" cy="1263976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rcRect/>
          <a:stretch>
            <a:fillRect t="-35000" b="-3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E0A20B-F44F-46C6-9D4F-D8D506ABC51D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42362E-1ED8-43CE-8EE8-89CFEBDD75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634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all 7 core values : Highlight the 4 we pulled from… </a:t>
            </a:r>
            <a:r>
              <a:rPr lang="en-US" b="1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Integrity, Safety &amp; Quality, Support Our People, Customer Focus, Continuous Improvement, Collaboration and Innovation</a:t>
            </a:r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2362E-1ED8-43CE-8EE8-89CFEBDD752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620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ranberry: </a:t>
            </a:r>
            <a:r>
              <a:rPr lang="en-US"/>
              <a:t>Located 17.86 miles from Pittsburgh</a:t>
            </a:r>
          </a:p>
          <a:p>
            <a:r>
              <a:rPr lang="en-US">
                <a:cs typeface="Calibri"/>
              </a:rPr>
              <a:t>Inner City: </a:t>
            </a:r>
            <a:r>
              <a:rPr lang="en-US"/>
              <a:t>Locations could include downtown and surrounding areas</a:t>
            </a:r>
          </a:p>
          <a:p>
            <a:r>
              <a:rPr lang="en-US">
                <a:cs typeface="Calibri"/>
              </a:rPr>
              <a:t>Canonsburg: Located 18 miles away from Pittsburg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2362E-1ED8-43CE-8EE8-89CFEBDD752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037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cs typeface="Calibri"/>
              </a:rPr>
              <a:t>Remember to mention we inverted the property tax percentage because the largest did not mean the best in this case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2362E-1ED8-43CE-8EE8-89CFEBDD752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851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Ranking the control criteria: Opportunities, Benefits, Costs, &amp; Risk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2362E-1ED8-43CE-8EE8-89CFEBDD752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7831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novation was not very sensitive above or below 0.5 based on the model. Customer focus is very sensitive below 0.5. This tells us that this factor has a great influence on the alternatives. At 0.5, Cranberry is at 0.418. Once p = 0.0, Cranberry is now at 0.508 which is a 0.090 increase in the value of Cranberry and puts it as the top alternative. Compared to when p = 1.0, where Cranberry is 0.370 which is a 0.048 decrease in the value of the alternative and maintaining the order for the long term best alternativ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2362E-1ED8-43CE-8EE8-89CFEBDD752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3548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supporting our people, at P = 0.5 cranberry starts out with a value of 0.418. As P approaches 0.651, it increases to its highest value at 0.519. This constitutes an increase of 0.101. After 0.651, all the values for the alternatives rapidly decrease. As P approaches 0.651, Inner City also increases but is eventually surpassed by Cranberry whereas Canonsburg rapidly declines to zero and continues to decline after 0.651.  </a:t>
            </a:r>
          </a:p>
          <a:p>
            <a:endParaRPr lang="en-US" dirty="0"/>
          </a:p>
          <a:p>
            <a:r>
              <a:rPr lang="en-US" dirty="0"/>
              <a:t>For collaboration, at P = 0.5, Cranberry starts out with a value of 0.418. As P approaches 0.701, it increases to its highest value at 0.503. This constitutes an increase of 0.085. After 0.701 all of the values for the alternatives rapidly decrease. As P approaches 0.701, Inner City increases up until p equals 0.651 and after that it begins to decrease. Canonsburg continues to decrease as P increases greater than 0.5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2362E-1ED8-43CE-8EE8-89CFEBDD752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937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CABEFF4-0ECE-4720-8FB7-E92366063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32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CABEFF4-0ECE-4720-8FB7-E92366063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pquest.com/us/pennsylvania/canonsburg-pa-282022500" TargetMode="External"/><Relationship Id="rId3" Type="http://schemas.openxmlformats.org/officeDocument/2006/relationships/oleObject" Target="../embeddings/oleObject13.bin"/><Relationship Id="rId7" Type="http://schemas.openxmlformats.org/officeDocument/2006/relationships/hyperlink" Target="https://www.distance-cities.com/distance-pittsburgh-pa-to-cranberry-township-pa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hyperlink" Target="https://www.google.com/maps/vt/data=M4m3i04y_6wR5J7ImyJU3i9d__pSjl5BF7J7R3q13t3xWiE78ZaH7J0-zS-_Ss9mR1xGZyqiEFbzSCq-2X7-AREzjZvnKKti1AStXibeUiRKjVMBo7VPwplm0oqkqj8jY3HCLbm2BCTv&amp;w=182&amp;h=160" TargetMode="External"/><Relationship Id="rId5" Type="http://schemas.openxmlformats.org/officeDocument/2006/relationships/hyperlink" Target="https://www.kindpng.com/imgv/hTooowh_software-development-clipart-identity-png-download-computer-programmer/" TargetMode="External"/><Relationship Id="rId10" Type="http://schemas.openxmlformats.org/officeDocument/2006/relationships/hyperlink" Target="https://www.kindpng.com/imgv/hoRwib_incandescent-light-bulb-clip-art-transparent-background-lightbulb/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smartasset.com/taxes/pennsylvania-property-tax-calculator#MbRhYtD5mC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1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4.bin"/><Relationship Id="rId9" Type="http://schemas.openxmlformats.org/officeDocument/2006/relationships/diagramColors" Target="../diagrams/colors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2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0" name="Rectangle 89">
            <a:extLst>
              <a:ext uri="{FF2B5EF4-FFF2-40B4-BE49-F238E27FC236}">
                <a16:creationId xmlns:a16="http://schemas.microsoft.com/office/drawing/2014/main" id="{C1DD1A8A-57D5-4A81-AD04-532B043C5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21" descr="Free Images : business building, corporate office ...">
            <a:extLst>
              <a:ext uri="{FF2B5EF4-FFF2-40B4-BE49-F238E27FC236}">
                <a16:creationId xmlns:a16="http://schemas.microsoft.com/office/drawing/2014/main" id="{4DD44932-4AF6-4D88-5E2F-96396B96FD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013" b="8717"/>
          <a:stretch/>
        </p:blipFill>
        <p:spPr>
          <a:xfrm>
            <a:off x="-3047" y="10"/>
            <a:ext cx="12191999" cy="6857990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007891EC-4501-44ED-A8C8-B11B6DB76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7602"/>
            <a:ext cx="12191999" cy="316214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25000">
                <a:srgbClr val="000000">
                  <a:alpha val="15000"/>
                </a:srgbClr>
              </a:gs>
              <a:gs pos="75000">
                <a:srgbClr val="000000">
                  <a:alpha val="15000"/>
                </a:srgbClr>
              </a:gs>
              <a:gs pos="50000">
                <a:srgbClr val="000000">
                  <a:alpha val="3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769700"/>
            <a:ext cx="10058400" cy="113062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en-US" sz="5400">
                <a:solidFill>
                  <a:srgbClr val="FFFFFF"/>
                </a:solidFill>
                <a:cs typeface="Calibri Light"/>
              </a:rPr>
              <a:t>New Corporate Office Location</a:t>
            </a:r>
            <a:endParaRPr lang="en-US" sz="54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072043"/>
            <a:ext cx="10072777" cy="158463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800">
                <a:solidFill>
                  <a:srgbClr val="FFFFFF"/>
                </a:solidFill>
                <a:cs typeface="Calibri"/>
              </a:rPr>
              <a:t> Tavon Johnson &amp; Jahari Mercer</a:t>
            </a:r>
          </a:p>
          <a:p>
            <a:r>
              <a:rPr lang="en-US" sz="2800">
                <a:solidFill>
                  <a:srgbClr val="FFFFFF"/>
                </a:solidFill>
                <a:cs typeface="Calibri"/>
              </a:rPr>
              <a:t>04/26/2022</a:t>
            </a:r>
          </a:p>
          <a:p>
            <a:r>
              <a:rPr lang="en-US" sz="2800">
                <a:solidFill>
                  <a:srgbClr val="FFFFFF"/>
                </a:solidFill>
                <a:cs typeface="Calibri"/>
              </a:rPr>
              <a:t>BQOM 2521 Final Project Presentation</a:t>
            </a:r>
          </a:p>
          <a:p>
            <a:endParaRPr lang="en-US" sz="2200">
              <a:solidFill>
                <a:srgbClr val="FFFFFF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A16812-4606-4E96-BBC6-EE3402E11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6349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A16812-4606-4E96-BBC6-EE3402E11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690637"/>
          </a:xfrm>
        </p:spPr>
        <p:txBody>
          <a:bodyPr vert="horz">
            <a:normAutofit/>
          </a:bodyPr>
          <a:lstStyle/>
          <a:p>
            <a:r>
              <a:rPr lang="en-US" sz="3600" dirty="0">
                <a:cs typeface="Calibri Light"/>
              </a:rPr>
              <a:t>ANP Row Sensitivity Analysis – p &lt; 0.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22AD286-46B7-4B02-BDD8-D3EA738809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7441" y="1859789"/>
            <a:ext cx="5435681" cy="4757061"/>
          </a:xfrm>
          <a:prstGeom prst="rect">
            <a:avLst/>
          </a:pr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D05C153-1B00-465E-B03A-17BB4A317C66}"/>
              </a:ext>
            </a:extLst>
          </p:cNvPr>
          <p:cNvSpPr txBox="1"/>
          <p:nvPr/>
        </p:nvSpPr>
        <p:spPr>
          <a:xfrm>
            <a:off x="557441" y="1181327"/>
            <a:ext cx="5435681" cy="523220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P = 0.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2799A30-599D-4387-A89C-9D42B10BDFFE}"/>
              </a:ext>
            </a:extLst>
          </p:cNvPr>
          <p:cNvSpPr txBox="1"/>
          <p:nvPr/>
        </p:nvSpPr>
        <p:spPr>
          <a:xfrm>
            <a:off x="6353464" y="1161369"/>
            <a:ext cx="5319906" cy="523220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P &lt; 0.5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D700FEE-2C14-4AE5-9BB4-A2538EC708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3463" y="1859789"/>
            <a:ext cx="5319907" cy="4676477"/>
          </a:xfrm>
          <a:prstGeom prst="rect">
            <a:avLst/>
          </a:pr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09006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A16812-4606-4E96-BBC6-EE3402E11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354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A16812-4606-4E96-BBC6-EE3402E11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166129"/>
            <a:ext cx="10905066" cy="754035"/>
          </a:xfrm>
        </p:spPr>
        <p:txBody>
          <a:bodyPr vert="horz">
            <a:normAutofit/>
          </a:bodyPr>
          <a:lstStyle/>
          <a:p>
            <a:r>
              <a:rPr lang="en-US" sz="3600" dirty="0">
                <a:cs typeface="Calibri Light"/>
              </a:rPr>
              <a:t>ANP Row Sensitivity Analysis – p &gt; 0.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24430A2-4D55-4244-9F51-A3B9727BE0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145" y="1775640"/>
            <a:ext cx="5390904" cy="4760624"/>
          </a:xfrm>
          <a:prstGeom prst="rect">
            <a:avLst/>
          </a:pr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4C4AA4F-E10D-44DF-8E18-AAFE289A1F65}"/>
              </a:ext>
            </a:extLst>
          </p:cNvPr>
          <p:cNvSpPr txBox="1"/>
          <p:nvPr/>
        </p:nvSpPr>
        <p:spPr>
          <a:xfrm>
            <a:off x="505125" y="1086292"/>
            <a:ext cx="5390903" cy="523220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P = 0.5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09638EA-B3A3-4470-96D7-A4F3957A6A22}"/>
              </a:ext>
            </a:extLst>
          </p:cNvPr>
          <p:cNvSpPr txBox="1"/>
          <p:nvPr/>
        </p:nvSpPr>
        <p:spPr>
          <a:xfrm>
            <a:off x="6313533" y="1086292"/>
            <a:ext cx="5373341" cy="523220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P &gt; 0.5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019F028-9DE9-46A1-AB3E-919AD29D85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3534" y="1775641"/>
            <a:ext cx="5383321" cy="4760623"/>
          </a:xfrm>
          <a:prstGeom prst="rect">
            <a:avLst/>
          </a:pr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109852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82DCDB-8086-49AC-9DB2-88AD5128D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8906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82DCDB-8086-49AC-9DB2-88AD5128D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30" y="232959"/>
            <a:ext cx="10905066" cy="686712"/>
          </a:xfrm>
        </p:spPr>
        <p:txBody>
          <a:bodyPr vert="horz">
            <a:normAutofit/>
          </a:bodyPr>
          <a:lstStyle/>
          <a:p>
            <a:r>
              <a:rPr lang="en-US" sz="3600" dirty="0">
                <a:ea typeface="+mj-lt"/>
                <a:cs typeface="+mj-lt"/>
              </a:rPr>
              <a:t>Conclus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6138E6-2A0E-2FC3-B970-4CBD29FDD2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030" y="1152629"/>
            <a:ext cx="7101695" cy="5162224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r>
              <a:rPr lang="en-US" sz="2400" dirty="0"/>
              <a:t>Final Recommendation depends on whether the company sees themselves moving to a new facility after a few years.</a:t>
            </a:r>
          </a:p>
          <a:p>
            <a:r>
              <a:rPr lang="en-US" sz="2400" dirty="0"/>
              <a:t>Best short-term solution: Cranberry, PA</a:t>
            </a:r>
          </a:p>
          <a:p>
            <a:pPr lvl="1"/>
            <a:r>
              <a:rPr lang="en-US" sz="1800" dirty="0"/>
              <a:t>Cranberry offers advantages in future partnerships </a:t>
            </a:r>
          </a:p>
          <a:p>
            <a:pPr lvl="1"/>
            <a:r>
              <a:rPr lang="en-US" sz="1800" dirty="0"/>
              <a:t>Access to nearby restaurants, hotels, and residential housing </a:t>
            </a:r>
          </a:p>
          <a:p>
            <a:r>
              <a:rPr lang="en-US" sz="2400" dirty="0"/>
              <a:t>Why Cranberry scores high in the short term?</a:t>
            </a:r>
          </a:p>
          <a:p>
            <a:pPr lvl="1"/>
            <a:r>
              <a:rPr lang="en-US" dirty="0"/>
              <a:t> </a:t>
            </a:r>
            <a:r>
              <a:rPr lang="en-US" sz="2000" dirty="0"/>
              <a:t>Even with low benefits, it has the lowest short-term costs</a:t>
            </a:r>
          </a:p>
          <a:p>
            <a:r>
              <a:rPr lang="en-US" sz="2400" dirty="0"/>
              <a:t>Best long-term solution: Inner City Pittsburgh, PA</a:t>
            </a:r>
          </a:p>
          <a:p>
            <a:pPr lvl="1"/>
            <a:r>
              <a:rPr lang="en-US" sz="1800" dirty="0"/>
              <a:t>Inner City Pittsburgh offers partnerships with schools, restaurants, and businesses </a:t>
            </a:r>
          </a:p>
          <a:p>
            <a:pPr lvl="1"/>
            <a:r>
              <a:rPr lang="en-US" sz="1800" dirty="0"/>
              <a:t>Accessible by public transit and offers a more modern facility </a:t>
            </a:r>
          </a:p>
          <a:p>
            <a:r>
              <a:rPr lang="en-US" sz="2400" dirty="0"/>
              <a:t>Why Inner-City scores high in long term?</a:t>
            </a:r>
          </a:p>
          <a:p>
            <a:pPr lvl="1"/>
            <a:r>
              <a:rPr lang="en-US" sz="2000" dirty="0"/>
              <a:t>Risk control criteria has a lower priority</a:t>
            </a:r>
          </a:p>
          <a:p>
            <a:pPr lvl="1"/>
            <a:r>
              <a:rPr lang="en-US" sz="2000" dirty="0"/>
              <a:t>Large amount of benefits and opportunities with a lower cost</a:t>
            </a:r>
            <a:endParaRPr lang="en-US" sz="1800" dirty="0"/>
          </a:p>
          <a:p>
            <a:endParaRPr lang="en-US" sz="20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767370-BA3B-4C94-87F6-1BD45DA068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7234" y="1504335"/>
            <a:ext cx="3818250" cy="3849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473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3BAACB-8CCB-4406-BFCD-476ED18F5F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086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3BAACB-8CCB-4406-BFCD-476ED18F5F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119462"/>
            <a:ext cx="10905066" cy="719857"/>
          </a:xfrm>
        </p:spPr>
        <p:txBody>
          <a:bodyPr vert="horz">
            <a:normAutofit/>
          </a:bodyPr>
          <a:lstStyle/>
          <a:p>
            <a:r>
              <a:rPr lang="en-US" sz="3600" dirty="0">
                <a:cs typeface="Calibri Light"/>
              </a:rPr>
              <a:t>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6138E6-2A0E-2FC3-B970-4CBD29FDD2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0418" y="958780"/>
            <a:ext cx="10905066" cy="535607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1600" dirty="0"/>
              <a:t>Slide 2</a:t>
            </a:r>
          </a:p>
          <a:p>
            <a:pPr marL="0" indent="0">
              <a:buNone/>
            </a:pPr>
            <a:r>
              <a:rPr lang="en-US" sz="1600" dirty="0"/>
              <a:t>1. </a:t>
            </a:r>
            <a:r>
              <a:rPr lang="en-US" sz="1600" dirty="0">
                <a:hlinkClick r:id="rId5"/>
              </a:rPr>
              <a:t>https://www.kindpng.com/imgv/hTooowh_software-development-clipart-identity-png-download-computer-programmer/</a:t>
            </a:r>
            <a:r>
              <a:rPr lang="en-US" sz="1600" dirty="0"/>
              <a:t> </a:t>
            </a:r>
          </a:p>
          <a:p>
            <a:pPr marL="0" indent="0">
              <a:buNone/>
            </a:pPr>
            <a:r>
              <a:rPr lang="en-US" sz="1600" dirty="0"/>
              <a:t>Slide 5</a:t>
            </a:r>
          </a:p>
          <a:p>
            <a:pPr>
              <a:buAutoNum type="arabicPeriod"/>
            </a:pPr>
            <a:r>
              <a:rPr lang="en-US" sz="1600" dirty="0">
                <a:hlinkClick r:id="rId6"/>
              </a:rPr>
              <a:t>https://www.google.com/maps/vt/data=M4m3i04y_6wR5J7ImyJU3i9d__pSjl5BF7J7R3q13t3xWiE78ZaH7J0-zS-_Ss9mR1xGZyqiEFbzSCq-2X7-AREzjZvnKKti1AStXibeUiRKjVMBo7VPwplm0oqkqj8jY3HCLbm2BCTv&amp;w=182&amp;h=160</a:t>
            </a:r>
            <a:r>
              <a:rPr lang="en-US" sz="1600" dirty="0"/>
              <a:t> </a:t>
            </a:r>
          </a:p>
          <a:p>
            <a:pPr>
              <a:buAutoNum type="arabicPeriod"/>
            </a:pPr>
            <a:r>
              <a:rPr lang="en-US" sz="1600" dirty="0">
                <a:hlinkClick r:id="rId7"/>
              </a:rPr>
              <a:t>https://www.distance-cities.com/distance-pittsburgh-pa-to-cranberry-township-pa</a:t>
            </a:r>
            <a:r>
              <a:rPr lang="en-US" sz="1600" dirty="0"/>
              <a:t> </a:t>
            </a:r>
          </a:p>
          <a:p>
            <a:pPr>
              <a:buAutoNum type="arabicPeriod"/>
            </a:pPr>
            <a:r>
              <a:rPr lang="en-US" sz="1600" dirty="0">
                <a:hlinkClick r:id="rId8"/>
              </a:rPr>
              <a:t>https://www.google.com/maps/vt/data=u1-cgko6qz9VMt9WL4X0mmGSRX-LJhbp6YZS9Z2yfXj-RfpAGayWAJMOhcriMY7sJ96EjJ7kvk6WRqbcuJHufzPIyCAUVrz2G9OEEh2k5oIzur2kbEavXvU7QFJGTSg-lTp7BIW_JFWjMYIte7AWBy4JadQXSnjF5jVHvEkPaz8KKnhtE1lTXX_FvrQy0C9CHmfvYmpeL5oURyksT04knVcaLYwekfk03aPOXSbDrnXkxm5A5Lvc1qS8</a:t>
            </a:r>
          </a:p>
          <a:p>
            <a:pPr>
              <a:buAutoNum type="arabicPeriod"/>
            </a:pPr>
            <a:r>
              <a:rPr lang="en-US" sz="1600" dirty="0">
                <a:hlinkClick r:id="rId8"/>
              </a:rPr>
              <a:t>https://www.google.com/maps/vt/data=S32iD0k9-LbRjVqyjw2xKzHoHCMKcql4nndT3EFLcXtmTSM6f5Q7AEK6iwnx73fJj-TSZG9R6dzB9st2ZiY-97A08FKiltWMo4itHPvYFW4lDsr9NyLw3QIyFcaey4UXuqEVtKdugxhR0D73vc77160GjgexUT4GWIzag5VFgDNKtwYzVbHg2sE08Jl4Lss2UgBrcFne7YdnwYNLEt_ckCaMHVjfCYeE-g_iY55a-ZY6_yM&amp;w=182&amp;h=160</a:t>
            </a:r>
          </a:p>
          <a:p>
            <a:pPr>
              <a:buAutoNum type="arabicPeriod"/>
            </a:pPr>
            <a:r>
              <a:rPr lang="en-US" sz="1600" dirty="0">
                <a:hlinkClick r:id="rId8"/>
              </a:rPr>
              <a:t>https://www.mapquest.com/us/pennsylvania/canonsburg-pa-282022500</a:t>
            </a:r>
            <a:r>
              <a:rPr lang="en-US" sz="1600" dirty="0"/>
              <a:t>  </a:t>
            </a:r>
          </a:p>
          <a:p>
            <a:pPr>
              <a:buAutoNum type="arabicPeriod"/>
            </a:pPr>
            <a:r>
              <a:rPr lang="en-US" sz="1600" dirty="0">
                <a:ea typeface="+mn-lt"/>
                <a:cs typeface="+mn-lt"/>
                <a:hlinkClick r:id="rId9"/>
              </a:rPr>
              <a:t>https://smartasset.com/taxes/pennsylvania-property-tax-calculator#MbRhYtD5mC</a:t>
            </a:r>
            <a:r>
              <a:rPr lang="en-US" sz="1600" dirty="0">
                <a:ea typeface="+mn-lt"/>
                <a:cs typeface="+mn-lt"/>
              </a:rPr>
              <a:t> </a:t>
            </a:r>
          </a:p>
          <a:p>
            <a:pPr marL="0" indent="0">
              <a:buNone/>
            </a:pPr>
            <a:r>
              <a:rPr lang="en-US" sz="1600" dirty="0">
                <a:ea typeface="+mn-lt"/>
                <a:cs typeface="+mn-lt"/>
              </a:rPr>
              <a:t>Slide 11</a:t>
            </a:r>
          </a:p>
          <a:p>
            <a:pPr marL="0" indent="0">
              <a:buNone/>
            </a:pPr>
            <a:r>
              <a:rPr lang="en-US" sz="1600" dirty="0">
                <a:ea typeface="+mn-lt"/>
                <a:cs typeface="+mn-lt"/>
              </a:rPr>
              <a:t>1. </a:t>
            </a:r>
            <a:r>
              <a:rPr lang="en-US" sz="1600" dirty="0">
                <a:ea typeface="+mn-lt"/>
                <a:cs typeface="+mn-lt"/>
                <a:hlinkClick r:id="rId10"/>
              </a:rPr>
              <a:t>https://www.kindpng.com/imgv/hoRwib_incandescent-light-bulb-clip-art-transparent-background-lightbulb/</a:t>
            </a:r>
            <a:r>
              <a:rPr lang="en-US" sz="1600" dirty="0">
                <a:ea typeface="+mn-lt"/>
                <a:cs typeface="+mn-lt"/>
              </a:rPr>
              <a:t> </a:t>
            </a:r>
            <a:endParaRPr lang="en-US" sz="1600" dirty="0">
              <a:cs typeface="Calibri" panose="020F0502020204030204"/>
            </a:endParaRPr>
          </a:p>
          <a:p>
            <a:pPr marL="0" indent="0">
              <a:buNone/>
            </a:pPr>
            <a:endParaRPr lang="en-US" sz="2000" dirty="0">
              <a:cs typeface="Calibri" panose="020F0502020204030204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473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9F2317-8850-468B-91A5-97F353BD03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73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9F2317-8850-468B-91A5-97F353BD03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869423"/>
          </a:xfrm>
        </p:spPr>
        <p:txBody>
          <a:bodyPr vert="horz">
            <a:normAutofit/>
          </a:bodyPr>
          <a:lstStyle/>
          <a:p>
            <a:r>
              <a:rPr lang="en-US" sz="3600" dirty="0">
                <a:cs typeface="Calibri Light"/>
              </a:rPr>
              <a:t>Agend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0092E9F2-5FC8-4CDE-86DE-DA8BE662E38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6733865"/>
              </p:ext>
            </p:extLst>
          </p:nvPr>
        </p:nvGraphicFramePr>
        <p:xfrm>
          <a:off x="859713" y="1430080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9889035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C65C42-F90A-49C5-9B14-7415E4D417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4617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C65C42-F90A-49C5-9B14-7415E4D41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112636"/>
            <a:ext cx="10905066" cy="719857"/>
          </a:xfrm>
        </p:spPr>
        <p:txBody>
          <a:bodyPr vert="horz">
            <a:normAutofit/>
          </a:bodyPr>
          <a:lstStyle/>
          <a:p>
            <a:r>
              <a:rPr lang="en-US" sz="3600" dirty="0">
                <a:cs typeface="Calibri Light"/>
              </a:rPr>
              <a:t>Background Info &amp; Decision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6138E6-2A0E-2FC3-B970-4CBD29FDD2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467" y="1039397"/>
            <a:ext cx="6077138" cy="5512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000" dirty="0"/>
              <a:t>Software and Controls company within Pittsburgh is moving Headquarters</a:t>
            </a:r>
            <a:endParaRPr lang="en-US" sz="2000" dirty="0">
              <a:cs typeface="Calibri"/>
            </a:endParaRPr>
          </a:p>
          <a:p>
            <a:pPr lvl="1"/>
            <a:r>
              <a:rPr lang="en-US" sz="1600" dirty="0"/>
              <a:t>Three key areas have been presented as places of interest: Canonsburg, City of Pittsburgh, or Cranberry Township</a:t>
            </a:r>
          </a:p>
          <a:p>
            <a:r>
              <a:rPr lang="en-US" sz="2000" dirty="0"/>
              <a:t>Current facility has been in operation since 1998</a:t>
            </a:r>
          </a:p>
          <a:p>
            <a:r>
              <a:rPr lang="en-US" sz="2000" dirty="0"/>
              <a:t>Current facility is nearly 400,000 sq ft and operates regularly under 50% on weekdays.</a:t>
            </a:r>
          </a:p>
          <a:p>
            <a:r>
              <a:rPr lang="en-US" sz="2000" dirty="0"/>
              <a:t>Senior leadership are decision makers with advice from outside consultant and employee focus groups</a:t>
            </a:r>
          </a:p>
          <a:p>
            <a:r>
              <a:rPr lang="en-US" sz="2000" dirty="0"/>
              <a:t>Current office business park restricts abilities of green technology due to Industrial governance policies</a:t>
            </a:r>
          </a:p>
          <a:p>
            <a:r>
              <a:rPr lang="en-US" sz="2000" dirty="0"/>
              <a:t>Reduction of carbon footprint to align with corporate objectives of being Net 0 by 2050 in alliance with European Commission plan</a:t>
            </a:r>
          </a:p>
          <a:p>
            <a:r>
              <a:rPr lang="en-US" sz="2000" dirty="0"/>
              <a:t>Growing calls for renovation, and newer amenities/ network infrastruct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444C21-553D-4B1E-BE46-A9EC301B98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0066" y="1204366"/>
            <a:ext cx="4974077" cy="5182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0323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9E1719-85BA-434A-BB33-554D8E5FE9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0464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69E1719-85BA-434A-BB33-554D8E5FE9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705" y="265787"/>
            <a:ext cx="10905066" cy="587926"/>
          </a:xfrm>
        </p:spPr>
        <p:txBody>
          <a:bodyPr vert="horz">
            <a:normAutofit/>
          </a:bodyPr>
          <a:lstStyle/>
          <a:p>
            <a:r>
              <a:rPr lang="en-US" sz="3600">
                <a:cs typeface="Calibri Light"/>
              </a:rPr>
              <a:t>Strategic Criteri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2C9E321B-9C6C-4BD5-9EAA-55CCBEEB57A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91660662"/>
              </p:ext>
            </p:extLst>
          </p:nvPr>
        </p:nvGraphicFramePr>
        <p:xfrm>
          <a:off x="1014060" y="994299"/>
          <a:ext cx="9904907" cy="55327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753568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3B7CF2-1B67-444B-A7D4-368296A99F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29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3B7CF2-1B67-444B-A7D4-368296A99F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185094"/>
            <a:ext cx="10905066" cy="776434"/>
          </a:xfrm>
        </p:spPr>
        <p:txBody>
          <a:bodyPr vert="horz">
            <a:normAutofit/>
          </a:bodyPr>
          <a:lstStyle/>
          <a:p>
            <a:r>
              <a:rPr lang="en-US" sz="3600">
                <a:cs typeface="Calibri Light"/>
              </a:rPr>
              <a:t>Alternatives &amp; Assumption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2A67607-4B1A-4CDD-AB94-92529996FDA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77342105"/>
              </p:ext>
            </p:extLst>
          </p:nvPr>
        </p:nvGraphicFramePr>
        <p:xfrm>
          <a:off x="670705" y="1146622"/>
          <a:ext cx="10515600" cy="50559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646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344DEFB-2AC5-4DDE-92FD-18686A53A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689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344DEFB-2AC5-4DDE-92FD-18686A53A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270384"/>
            <a:ext cx="10905066" cy="839603"/>
          </a:xfrm>
        </p:spPr>
        <p:txBody>
          <a:bodyPr vert="horz">
            <a:normAutofit/>
          </a:bodyPr>
          <a:lstStyle/>
          <a:p>
            <a:r>
              <a:rPr lang="en-US" sz="3600">
                <a:ea typeface="+mj-lt"/>
                <a:cs typeface="+mj-lt"/>
              </a:rPr>
              <a:t>Control Criteria &amp; Bottom Level Factors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5B10AC2-B8B4-4B55-9DCE-4714588FF0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645361"/>
              </p:ext>
            </p:extLst>
          </p:nvPr>
        </p:nvGraphicFramePr>
        <p:xfrm>
          <a:off x="1027224" y="1275000"/>
          <a:ext cx="9891744" cy="5312616"/>
        </p:xfrm>
        <a:graphic>
          <a:graphicData uri="http://schemas.openxmlformats.org/drawingml/2006/table">
            <a:tbl>
              <a:tblPr/>
              <a:tblGrid>
                <a:gridCol w="2472936">
                  <a:extLst>
                    <a:ext uri="{9D8B030D-6E8A-4147-A177-3AD203B41FA5}">
                      <a16:colId xmlns:a16="http://schemas.microsoft.com/office/drawing/2014/main" val="3269066842"/>
                    </a:ext>
                  </a:extLst>
                </a:gridCol>
                <a:gridCol w="2472936">
                  <a:extLst>
                    <a:ext uri="{9D8B030D-6E8A-4147-A177-3AD203B41FA5}">
                      <a16:colId xmlns:a16="http://schemas.microsoft.com/office/drawing/2014/main" val="237060484"/>
                    </a:ext>
                  </a:extLst>
                </a:gridCol>
                <a:gridCol w="2472936">
                  <a:extLst>
                    <a:ext uri="{9D8B030D-6E8A-4147-A177-3AD203B41FA5}">
                      <a16:colId xmlns:a16="http://schemas.microsoft.com/office/drawing/2014/main" val="866160245"/>
                    </a:ext>
                  </a:extLst>
                </a:gridCol>
                <a:gridCol w="2472936">
                  <a:extLst>
                    <a:ext uri="{9D8B030D-6E8A-4147-A177-3AD203B41FA5}">
                      <a16:colId xmlns:a16="http://schemas.microsoft.com/office/drawing/2014/main" val="1955179361"/>
                    </a:ext>
                  </a:extLst>
                </a:gridCol>
              </a:tblGrid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nefit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portunitie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s</a:t>
                      </a:r>
                    </a:p>
                  </a:txBody>
                  <a:tcPr marL="7620" marR="7620" marT="76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7620" marR="7620" marT="76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945972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 (Corporate Finance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 (Corporate Finance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 (Corporate Finance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 (Corporate Finance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405674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x Benefit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-term growth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xe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-budget Moving Expense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738631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porate Partnerships 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ilanthropy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ilitie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loyee Wage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7372503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ase Payment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ving Expense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2152358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 (Sustainability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 (Sustainability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 (Sustainability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 (Sustainability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4482584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uced Carbon Footprint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uced Carbon Footprint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ycling &amp; Waste Management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reased Carbon Footprint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1154687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gy Efficiency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ycling &amp; Waste Management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ficiency Upgrade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ycling &amp; Waste Management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0079417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ational (Business Processes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ational (Business Processes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ational (Business Processes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ational (Business Processes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368687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loyee Satisfaction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ruitment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ruption to production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e employee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2740489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ice Workflow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Longevity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ruitment effort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6997624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ational (Amentities)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ching Existing Capabilities 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6794530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dging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1199562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irport Acces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8012685"/>
                  </a:ext>
                </a:extLst>
              </a:tr>
              <a:tr h="3150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taurants</a:t>
                      </a: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63281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80110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771251-C54A-4644-AFFF-21250FAE45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547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771251-C54A-4644-AFFF-21250FAE4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317177"/>
            <a:ext cx="10905066" cy="658654"/>
          </a:xfrm>
        </p:spPr>
        <p:txBody>
          <a:bodyPr vert="horz">
            <a:normAutofit/>
          </a:bodyPr>
          <a:lstStyle/>
          <a:p>
            <a:r>
              <a:rPr lang="en-US" sz="3600" dirty="0">
                <a:ea typeface="+mj-lt"/>
                <a:cs typeface="+mj-lt"/>
              </a:rPr>
              <a:t>Results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15CF64-F15A-42EC-BA7A-9BCB059DBD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5711" y="3409187"/>
            <a:ext cx="10832821" cy="201758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87EA2B-67F3-475C-8E6D-88518C921D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3751" y="1240487"/>
            <a:ext cx="9564495" cy="190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0533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8F78F7-CCE6-487E-A6FF-4EA106771B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646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8F78F7-CCE6-487E-A6FF-4EA106771B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1135737"/>
          </a:xfrm>
        </p:spPr>
        <p:txBody>
          <a:bodyPr vert="horz">
            <a:normAutofit/>
          </a:bodyPr>
          <a:lstStyle/>
          <a:p>
            <a:r>
              <a:rPr lang="en-US" sz="3600" dirty="0">
                <a:ea typeface="+mj-lt"/>
                <a:cs typeface="+mj-lt"/>
              </a:rPr>
              <a:t>Sensitivity Analysi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6138E6-2A0E-2FC3-B970-4CBD29FDD2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32" y="1201080"/>
            <a:ext cx="1576418" cy="4393982"/>
          </a:xfrm>
        </p:spPr>
        <p:txBody>
          <a:bodyPr>
            <a:normAutofit/>
          </a:bodyPr>
          <a:lstStyle/>
          <a:p>
            <a:r>
              <a:rPr lang="en-US" sz="2000" dirty="0"/>
              <a:t>Benefits</a:t>
            </a:r>
            <a:endParaRPr lang="en-US" sz="20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318FC15-76CF-470D-BEDA-30F9EBAFC5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6111" y="1562345"/>
            <a:ext cx="3437582" cy="50650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961FC84-3843-4A92-B78B-193EF10994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7573" y="1562345"/>
            <a:ext cx="3454188" cy="5056732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F7E9D2A-CF5D-4566-B927-ADDF1E615432}"/>
              </a:ext>
            </a:extLst>
          </p:cNvPr>
          <p:cNvSpPr txBox="1">
            <a:spLocks/>
          </p:cNvSpPr>
          <p:nvPr/>
        </p:nvSpPr>
        <p:spPr>
          <a:xfrm>
            <a:off x="6095999" y="1216305"/>
            <a:ext cx="1895475" cy="4393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Opportunities</a:t>
            </a:r>
          </a:p>
        </p:txBody>
      </p:sp>
    </p:spTree>
    <p:extLst>
      <p:ext uri="{BB962C8B-B14F-4D97-AF65-F5344CB8AC3E}">
        <p14:creationId xmlns:p14="http://schemas.microsoft.com/office/powerpoint/2010/main" val="772069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8F78F7-CCE6-487E-A6FF-4EA106771B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8F78F7-CCE6-487E-A6FF-4EA106771B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E4869-2558-A121-96F7-B8A3D01F3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1135737"/>
          </a:xfrm>
        </p:spPr>
        <p:txBody>
          <a:bodyPr vert="horz">
            <a:normAutofit/>
          </a:bodyPr>
          <a:lstStyle/>
          <a:p>
            <a:r>
              <a:rPr lang="en-US" sz="3600" dirty="0">
                <a:ea typeface="+mj-lt"/>
                <a:cs typeface="+mj-lt"/>
              </a:rPr>
              <a:t>Sensitivity Analysi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6138E6-2A0E-2FC3-B970-4CBD29FDD2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32" y="1201080"/>
            <a:ext cx="1576418" cy="4393982"/>
          </a:xfrm>
        </p:spPr>
        <p:txBody>
          <a:bodyPr>
            <a:normAutofit/>
          </a:bodyPr>
          <a:lstStyle/>
          <a:p>
            <a:r>
              <a:rPr lang="en-US" sz="2000" dirty="0"/>
              <a:t>Cos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0C965-DB6D-4F81-9E9E-B027384D0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052629" y="2120024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580F890-B085-4E95-96AA-55AEBEC5C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289068" y="1343027"/>
            <a:ext cx="2532832" cy="1273032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3F51FEB-38FB-4F6C-9F7B-2F2AFAB65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501760" y="5103257"/>
            <a:ext cx="2017580" cy="1014060"/>
          </a:xfrm>
          <a:prstGeom prst="triangle">
            <a:avLst>
              <a:gd name="adj" fmla="val 50000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547BA6-BAE0-43BB-A7CA-60F69CE25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27916" y="572870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F7E9D2A-CF5D-4566-B927-ADDF1E615432}"/>
              </a:ext>
            </a:extLst>
          </p:cNvPr>
          <p:cNvSpPr txBox="1">
            <a:spLocks/>
          </p:cNvSpPr>
          <p:nvPr/>
        </p:nvSpPr>
        <p:spPr>
          <a:xfrm>
            <a:off x="6095999" y="1216305"/>
            <a:ext cx="1895475" cy="4393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k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F2F7BC5-35B3-4E0E-8502-CF1E1F41CB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6657" y="1562345"/>
            <a:ext cx="3437582" cy="502859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F41D240-0DF3-4455-A3A9-33D1D349DF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83065" y="1562345"/>
            <a:ext cx="3412851" cy="5020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854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573786F7445546A023463D9D40333C" ma:contentTypeVersion="4" ma:contentTypeDescription="Create a new document." ma:contentTypeScope="" ma:versionID="ba073de682eb521891828c405c7a0d5e">
  <xsd:schema xmlns:xsd="http://www.w3.org/2001/XMLSchema" xmlns:xs="http://www.w3.org/2001/XMLSchema" xmlns:p="http://schemas.microsoft.com/office/2006/metadata/properties" xmlns:ns2="fad31c3d-c99d-4fae-b950-8fd2a49b80fb" targetNamespace="http://schemas.microsoft.com/office/2006/metadata/properties" ma:root="true" ma:fieldsID="6dbf89a5037f46648beed4fbd6642004" ns2:_="">
    <xsd:import namespace="fad31c3d-c99d-4fae-b950-8fd2a49b80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d31c3d-c99d-4fae-b950-8fd2a49b80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441B896-FF64-4AF3-9A2B-DDF4EF0310A0}">
  <ds:schemaRefs>
    <ds:schemaRef ds:uri="fad31c3d-c99d-4fae-b950-8fd2a49b80f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5C9A231-E481-4A68-8C0E-AA1917F620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AFFA2C-C0BA-46B8-8859-2C22B5305910}">
  <ds:schemaRefs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schemas.openxmlformats.org/package/2006/metadata/core-properties"/>
    <ds:schemaRef ds:uri="fad31c3d-c99d-4fae-b950-8fd2a49b80fb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b74dbf3d-dd19-4e95-b2d0-8dffb6ec560c}" enabled="1" method="Privileged" siteId="{eb06985d-06ca-4a17-81da-629ab99f6505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1</TotalTime>
  <Words>1044</Words>
  <Application>Microsoft Office PowerPoint</Application>
  <PresentationFormat>Widescreen</PresentationFormat>
  <Paragraphs>140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Roboto</vt:lpstr>
      <vt:lpstr>office theme</vt:lpstr>
      <vt:lpstr>think-cell Slide</vt:lpstr>
      <vt:lpstr>New Corporate Office Location</vt:lpstr>
      <vt:lpstr>Agenda</vt:lpstr>
      <vt:lpstr>Background Info &amp; Decision Description</vt:lpstr>
      <vt:lpstr>Strategic Criteria</vt:lpstr>
      <vt:lpstr>Alternatives &amp; Assumptions</vt:lpstr>
      <vt:lpstr>Control Criteria &amp; Bottom Level Factors</vt:lpstr>
      <vt:lpstr>Results</vt:lpstr>
      <vt:lpstr>Sensitivity Analysis</vt:lpstr>
      <vt:lpstr>Sensitivity Analysis</vt:lpstr>
      <vt:lpstr>ANP Row Sensitivity Analysis – p &lt; 0.5</vt:lpstr>
      <vt:lpstr>ANP Row Sensitivity Analysis – p &gt; 0.5</vt:lpstr>
      <vt:lpstr>Conclusion</vt:lpstr>
      <vt:lpstr>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Johnson, Tavon L [AUTOSOL/PWS/PITT]</cp:lastModifiedBy>
  <cp:revision>1</cp:revision>
  <dcterms:created xsi:type="dcterms:W3CDTF">2022-04-22T17:24:48Z</dcterms:created>
  <dcterms:modified xsi:type="dcterms:W3CDTF">2022-04-28T04:0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573786F7445546A023463D9D40333C</vt:lpwstr>
  </property>
  <property fmtid="{D5CDD505-2E9C-101B-9397-08002B2CF9AE}" pid="3" name="MSIP_Label_b74dbf3d-dd19-4e95-b2d0-8dffb6ec560c_SiteId">
    <vt:lpwstr>eb06985d-06ca-4a17-81da-629ab99f6505</vt:lpwstr>
  </property>
  <property fmtid="{D5CDD505-2E9C-101B-9397-08002B2CF9AE}" pid="4" name="MSIP_Label_b74dbf3d-dd19-4e95-b2d0-8dffb6ec560c_Method">
    <vt:lpwstr>Privileged</vt:lpwstr>
  </property>
  <property fmtid="{D5CDD505-2E9C-101B-9397-08002B2CF9AE}" pid="5" name="MSIP_Label_b74dbf3d-dd19-4e95-b2d0-8dffb6ec560c_ContentBits">
    <vt:lpwstr>0</vt:lpwstr>
  </property>
  <property fmtid="{D5CDD505-2E9C-101B-9397-08002B2CF9AE}" pid="6" name="MSIP_Label_b74dbf3d-dd19-4e95-b2d0-8dffb6ec560c_Name">
    <vt:lpwstr>Public</vt:lpwstr>
  </property>
  <property fmtid="{D5CDD505-2E9C-101B-9397-08002B2CF9AE}" pid="7" name="MSIP_Label_b74dbf3d-dd19-4e95-b2d0-8dffb6ec560c_Enabled">
    <vt:lpwstr>true</vt:lpwstr>
  </property>
  <property fmtid="{D5CDD505-2E9C-101B-9397-08002B2CF9AE}" pid="8" name="MSIP_Label_b74dbf3d-dd19-4e95-b2d0-8dffb6ec560c_SetDate">
    <vt:lpwstr>2022-04-25T01:50:58Z</vt:lpwstr>
  </property>
  <property fmtid="{D5CDD505-2E9C-101B-9397-08002B2CF9AE}" pid="9" name="MSIP_Label_b74dbf3d-dd19-4e95-b2d0-8dffb6ec560c_ActionId">
    <vt:lpwstr>382d441d-15d6-43e2-8292-ae8ef7ff8157</vt:lpwstr>
  </property>
</Properties>
</file>